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3" r:id="rId4"/>
    <p:sldMasterId id="2147484164" r:id="rId5"/>
    <p:sldMasterId id="2147484061" r:id="rId6"/>
    <p:sldMasterId id="2147484168" r:id="rId7"/>
  </p:sldMasterIdLst>
  <p:notesMasterIdLst>
    <p:notesMasterId r:id="rId12"/>
  </p:notesMasterIdLst>
  <p:handoutMasterIdLst>
    <p:handoutMasterId r:id="rId13"/>
  </p:handoutMasterIdLst>
  <p:sldIdLst>
    <p:sldId id="2147468448" r:id="rId8"/>
    <p:sldId id="2147468437" r:id="rId9"/>
    <p:sldId id="2147468438" r:id="rId10"/>
    <p:sldId id="2147468447" r:id="rId11"/>
  </p:sldIdLst>
  <p:sldSz cx="9144000" cy="5143500" type="screen16x9"/>
  <p:notesSz cx="6858000" cy="9144000"/>
  <p:defaultTextStyle>
    <a:defPPr>
      <a:defRPr lang="en-US"/>
    </a:defPPr>
    <a:lvl1pPr marL="0" algn="l" defTabSz="457200" rtl="0" eaLnBrk="1" latinLnBrk="0" hangingPunct="1">
      <a:defRPr sz="144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44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44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44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44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44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44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44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44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pos="5602" userDrawn="1">
          <p15:clr>
            <a:srgbClr val="A4A3A4"/>
          </p15:clr>
        </p15:guide>
        <p15:guide id="4" orient="horz" pos="577" userDrawn="1">
          <p15:clr>
            <a:srgbClr val="A4A3A4"/>
          </p15:clr>
        </p15:guide>
        <p15:guide id="5" orient="horz" pos="2981" userDrawn="1">
          <p15:clr>
            <a:srgbClr val="A4A3A4"/>
          </p15:clr>
        </p15:guide>
        <p15:guide id="6" pos="15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E40"/>
    <a:srgbClr val="FFFFFF"/>
    <a:srgbClr val="7F7F7F"/>
    <a:srgbClr val="F3FBF9"/>
    <a:srgbClr val="97A6CD"/>
    <a:srgbClr val="FD95A6"/>
    <a:srgbClr val="5BC5D3"/>
    <a:srgbClr val="BEC8E0"/>
    <a:srgbClr val="637AB5"/>
    <a:srgbClr val="FEC6C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79A1979-8C95-40C1-8FF8-8638EA8C3D77}" v="4" dt="2021-11-18T02:56:03.533"/>
    <p1510:client id="{4965E90F-6A02-4702-BC44-7D60ECB43D69}" v="29" dt="2021-11-17T06:41:35.495"/>
    <p1510:client id="{50344B49-08BB-BE1B-0599-AB1F000910F1}" v="36" dt="2021-11-17T13:43:44.42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スタイル (淡色)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73A0DAA-6AF3-43AB-8588-CEC1D06C72B9}" styleName="スタイル (中間)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4" d="100"/>
          <a:sy n="114" d="100"/>
        </p:scale>
        <p:origin x="462" y="108"/>
      </p:cViewPr>
      <p:guideLst>
        <p:guide orient="horz" pos="1620"/>
        <p:guide pos="2880"/>
        <p:guide pos="5602"/>
        <p:guide orient="horz" pos="577"/>
        <p:guide orient="horz" pos="2981"/>
        <p:guide pos="158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handoutMaster" Target="handoutMasters/handoutMaster1.xml"/><Relationship Id="rId18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5" Type="http://schemas.openxmlformats.org/officeDocument/2006/relationships/slideMaster" Target="slideMasters/slideMaster2.xml"/><Relationship Id="rId15" Type="http://schemas.openxmlformats.org/officeDocument/2006/relationships/viewProps" Target="viewProps.xml"/><Relationship Id="rId10" Type="http://schemas.openxmlformats.org/officeDocument/2006/relationships/slide" Target="slides/slide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>
            <a:extLst>
              <a:ext uri="{FF2B5EF4-FFF2-40B4-BE49-F238E27FC236}">
                <a16:creationId xmlns:a16="http://schemas.microsoft.com/office/drawing/2014/main" id="{61361770-CF84-48C2-8710-34DAB79A95E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>
            <a:extLst>
              <a:ext uri="{FF2B5EF4-FFF2-40B4-BE49-F238E27FC236}">
                <a16:creationId xmlns:a16="http://schemas.microsoft.com/office/drawing/2014/main" id="{6AED8D3B-9082-49AA-B4BC-F3F4425AA75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89ACFA8-1AB5-47AD-8712-789ED582E266}" type="datetimeFigureOut">
              <a:rPr kumimoji="1" lang="ja-JP" altLang="en-US" smtClean="0"/>
              <a:t>2022/3/22</a:t>
            </a:fld>
            <a:endParaRPr kumimoji="1" lang="ja-JP" altLang="en-US"/>
          </a:p>
        </p:txBody>
      </p:sp>
      <p:sp>
        <p:nvSpPr>
          <p:cNvPr id="4" name="フッター プレースホルダー 3">
            <a:extLst>
              <a:ext uri="{FF2B5EF4-FFF2-40B4-BE49-F238E27FC236}">
                <a16:creationId xmlns:a16="http://schemas.microsoft.com/office/drawing/2014/main" id="{5DAB9B36-94C5-4135-B352-9570B260F3E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altLang="ja-JP" sz="1000"/>
              <a:t>© 2021 Fujitsu Limited</a:t>
            </a:r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91EDE976-DD9F-4E5B-8DD7-50A554BDD88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DA504E-F46D-4C99-BD4A-3BE220F742A8}" type="slidenum">
              <a:rPr kumimoji="1" lang="ja-JP" altLang="en-US" smtClean="0"/>
              <a:t>‹#›</a:t>
            </a:fld>
            <a:endParaRPr kumimoji="1" lang="ja-JP" altLang="en-US"/>
          </a:p>
        </p:txBody>
      </p:sp>
      <p:pic>
        <p:nvPicPr>
          <p:cNvPr id="6" name="図 5" descr="FUJITSU-RESTRICTED">
            <a:extLst>
              <a:ext uri="{FF2B5EF4-FFF2-40B4-BE49-F238E27FC236}">
                <a16:creationId xmlns:a16="http://schemas.microsoft.com/office/drawing/2014/main" id="{EF70CBE9-4701-4CA4-A96C-FFD75BE721D1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975" y="53975"/>
            <a:ext cx="1292691" cy="166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594160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60">
                <a:latin typeface="+mn-lt"/>
              </a:defRPr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60">
                <a:latin typeface="+mn-lt"/>
              </a:defRPr>
            </a:lvl1pPr>
          </a:lstStyle>
          <a:p>
            <a:fld id="{49E156C8-D1E6-4437-B817-0C57EC289493}" type="datetimeFigureOut">
              <a:rPr kumimoji="1" lang="ja-JP" altLang="en-US" smtClean="0"/>
              <a:pPr/>
              <a:t>2022/3/22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en-US" altLang="ja-JP"/>
              <a:t>Headline</a:t>
            </a:r>
            <a:endParaRPr kumimoji="1" lang="ja-JP" altLang="en-US"/>
          </a:p>
          <a:p>
            <a:pPr lvl="1"/>
            <a:r>
              <a:rPr kumimoji="1" lang="en-US" altLang="ja-JP"/>
              <a:t>1st subhead</a:t>
            </a:r>
            <a:endParaRPr kumimoji="1" lang="ja-JP" altLang="en-US"/>
          </a:p>
          <a:p>
            <a:pPr lvl="2"/>
            <a:r>
              <a:rPr kumimoji="1" lang="en-US" altLang="ja-JP"/>
              <a:t>2nd subhead</a:t>
            </a:r>
            <a:endParaRPr kumimoji="1" lang="ja-JP" altLang="en-US"/>
          </a:p>
          <a:p>
            <a:pPr lvl="3"/>
            <a:r>
              <a:rPr kumimoji="1" lang="en-US" altLang="ja-JP"/>
              <a:t>Text</a:t>
            </a:r>
          </a:p>
          <a:p>
            <a:pPr lvl="4"/>
            <a:r>
              <a:rPr kumimoji="1" lang="en-US" altLang="ja-JP"/>
              <a:t>Text</a:t>
            </a:r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800">
                <a:latin typeface="+mn-lt"/>
              </a:defRPr>
            </a:lvl1pPr>
          </a:lstStyle>
          <a:p>
            <a:r>
              <a:rPr kumimoji="1" lang="en-US" altLang="ja-JP"/>
              <a:t>© 2021 Fujitsu Limited</a:t>
            </a:r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800">
                <a:latin typeface="+mn-lt"/>
              </a:defRPr>
            </a:lvl1pPr>
          </a:lstStyle>
          <a:p>
            <a:fld id="{C0644275-5C74-4E59-8F01-9B0DD8D2F6FE}" type="slidenum">
              <a:rPr kumimoji="1" lang="ja-JP" altLang="en-US" smtClean="0"/>
              <a:pPr/>
              <a:t>‹#›</a:t>
            </a:fld>
            <a:endParaRPr kumimoji="1" lang="ja-JP" altLang="en-US"/>
          </a:p>
        </p:txBody>
      </p:sp>
      <p:pic>
        <p:nvPicPr>
          <p:cNvPr id="8" name="図 7" descr="FUJITSU-RESTRICTED">
            <a:extLst>
              <a:ext uri="{FF2B5EF4-FFF2-40B4-BE49-F238E27FC236}">
                <a16:creationId xmlns:a16="http://schemas.microsoft.com/office/drawing/2014/main" id="{D6B6F53D-2030-4C6E-851A-2220828DD35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75" y="53975"/>
            <a:ext cx="1292691" cy="166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4097101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685800" rtl="0" eaLnBrk="1" latinLnBrk="0" hangingPunct="1">
      <a:defRPr kumimoji="1" sz="72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kumimoji="1" sz="72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kumimoji="1" sz="72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kumimoji="1" sz="72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kumimoji="1" sz="72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kumimoji="1" sz="72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kumimoji="1" sz="72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kumimoji="1" sz="72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kumimoji="1" sz="72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kumimoji="1" lang="en-US" altLang="ja-JP"/>
              <a:t>© 2021 Fujitsu Limited</a:t>
            </a:r>
            <a:endParaRPr kumimoji="1" lang="ja-JP" altLang="en-US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644275-5C74-4E59-8F01-9B0DD8D2F6FE}" type="slidenum">
              <a:rPr kumimoji="1" lang="ja-JP" altLang="en-US" smtClean="0"/>
              <a:pPr/>
              <a:t>3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1942213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5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5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5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Relationship Id="rId4" Type="http://schemas.microsoft.com/office/2007/relationships/hdphoto" Target="../media/hdphoto1.wdp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Relationship Id="rId4" Type="http://schemas.microsoft.com/office/2007/relationships/hdphoto" Target="../media/hdphoto1.wdp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Relationship Id="rId4" Type="http://schemas.microsoft.com/office/2007/relationships/hdphoto" Target="../media/hdphoto1.wdp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1.emf"/><Relationship Id="rId4" Type="http://schemas.openxmlformats.org/officeDocument/2006/relationships/oleObject" Target="../embeddings/oleObject1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1.emf"/><Relationship Id="rId4" Type="http://schemas.openxmlformats.org/officeDocument/2006/relationships/oleObject" Target="../embeddings/oleObject2.bin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1.emf"/><Relationship Id="rId4" Type="http://schemas.openxmlformats.org/officeDocument/2006/relationships/oleObject" Target="../embeddings/oleObject3.bin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5.png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5.png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emf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4.xml"/><Relationship Id="rId4" Type="http://schemas.openxmlformats.org/officeDocument/2006/relationships/image" Target="file:///C:\Program%20Files%20(x86)\F_Mock\img\ObjectLock\lockMark.emf" TargetMode="Externa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Mast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図 6" descr="屋外, 男, 夕日, 立つ が含まれている画像  自動的に生成された説明">
            <a:extLst>
              <a:ext uri="{FF2B5EF4-FFF2-40B4-BE49-F238E27FC236}">
                <a16:creationId xmlns:a16="http://schemas.microsoft.com/office/drawing/2014/main" id="{48AA7483-7119-4FB7-9E01-5DD889F40B5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32002" y="-394"/>
            <a:ext cx="6711998" cy="5143500"/>
          </a:xfrm>
          <a:prstGeom prst="rect">
            <a:avLst/>
          </a:prstGeom>
        </p:spPr>
      </p:pic>
      <p:pic>
        <p:nvPicPr>
          <p:cNvPr id="19" name="図 18">
            <a:extLst>
              <a:ext uri="{FF2B5EF4-FFF2-40B4-BE49-F238E27FC236}">
                <a16:creationId xmlns:a16="http://schemas.microsoft.com/office/drawing/2014/main" id="{720251CE-A1C3-4DDA-9FEB-25FFB58DF9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 flipV="1">
            <a:off x="0" y="0"/>
            <a:ext cx="4574308" cy="51434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19600" y="1591200"/>
            <a:ext cx="3240000" cy="997200"/>
          </a:xfrm>
        </p:spPr>
        <p:txBody>
          <a:bodyPr anchor="b">
            <a:noAutofit/>
          </a:bodyPr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r>
              <a:rPr lang="ja-JP" altLang="en-US"/>
              <a:t>タイトルを入力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234000" y="3067050"/>
            <a:ext cx="2772000" cy="1260000"/>
          </a:xfrm>
        </p:spPr>
        <p:txBody>
          <a:bodyPr anchor="t" anchorCtr="0">
            <a:noAutofit/>
          </a:bodyPr>
          <a:lstStyle>
            <a:lvl1pPr marL="0" indent="0" algn="l">
              <a:buNone/>
              <a:defRPr sz="1440">
                <a:solidFill>
                  <a:schemeClr val="bg1"/>
                </a:solidFill>
              </a:defRPr>
            </a:lvl1pPr>
            <a:lvl2pPr marL="342900" indent="0" algn="ctr">
              <a:buNone/>
              <a:defRPr sz="1200"/>
            </a:lvl2pPr>
            <a:lvl3pPr marL="685800" indent="0" algn="ctr">
              <a:buNone/>
              <a:defRPr sz="1080"/>
            </a:lvl3pPr>
            <a:lvl4pPr marL="1028700" indent="0" algn="ctr">
              <a:buNone/>
              <a:defRPr sz="960"/>
            </a:lvl4pPr>
            <a:lvl5pPr marL="1371600" indent="0" algn="ctr">
              <a:buNone/>
              <a:defRPr sz="960"/>
            </a:lvl5pPr>
            <a:lvl6pPr marL="1714500" indent="0" algn="ctr">
              <a:buNone/>
              <a:defRPr sz="960"/>
            </a:lvl6pPr>
            <a:lvl7pPr marL="2057400" indent="0" algn="ctr">
              <a:buNone/>
              <a:defRPr sz="960"/>
            </a:lvl7pPr>
            <a:lvl8pPr marL="2400300" indent="0" algn="ctr">
              <a:buNone/>
              <a:defRPr sz="960"/>
            </a:lvl8pPr>
            <a:lvl9pPr marL="2743200" indent="0" algn="ctr">
              <a:buNone/>
              <a:defRPr sz="960"/>
            </a:lvl9pPr>
          </a:lstStyle>
          <a:p>
            <a:r>
              <a:rPr lang="ja-JP" altLang="en-US"/>
              <a:t>サブタイトルを入力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kumimoji="1" lang="en-US" altLang="ja-JP"/>
              <a:t>© 2021 Fujitsu Limited</a:t>
            </a:r>
            <a:endParaRPr kumimoji="1" lang="ja-JP" altLang="en-US"/>
          </a:p>
        </p:txBody>
      </p:sp>
      <p:pic>
        <p:nvPicPr>
          <p:cNvPr id="21" name="図 20">
            <a:extLst>
              <a:ext uri="{FF2B5EF4-FFF2-40B4-BE49-F238E27FC236}">
                <a16:creationId xmlns:a16="http://schemas.microsoft.com/office/drawing/2014/main" id="{9522F68D-D7B8-4079-A7C4-DBAF3F52D5F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04888" y="1299450"/>
            <a:ext cx="3275999" cy="2543813"/>
          </a:xfrm>
          <a:prstGeom prst="rect">
            <a:avLst/>
          </a:prstGeom>
        </p:spPr>
      </p:pic>
      <p:pic>
        <p:nvPicPr>
          <p:cNvPr id="24" name="図 23" descr="FUJITSU-RESTRICTED">
            <a:extLst>
              <a:ext uri="{FF2B5EF4-FFF2-40B4-BE49-F238E27FC236}">
                <a16:creationId xmlns:a16="http://schemas.microsoft.com/office/drawing/2014/main" id="{E93C2A43-87E0-4653-9763-ECEF7B1CF38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400" y="4863874"/>
            <a:ext cx="1292691" cy="166263"/>
          </a:xfrm>
          <a:prstGeom prst="rect">
            <a:avLst/>
          </a:prstGeom>
        </p:spPr>
      </p:pic>
      <p:pic>
        <p:nvPicPr>
          <p:cNvPr id="14" name="図 13" descr="Fujitsu">
            <a:extLst>
              <a:ext uri="{FF2B5EF4-FFF2-40B4-BE49-F238E27FC236}">
                <a16:creationId xmlns:a16="http://schemas.microsoft.com/office/drawing/2014/main" id="{37287B77-ABE4-4268-9C74-0D8372EA3A4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41468" y="245572"/>
            <a:ext cx="964800" cy="469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3161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ext 1 column_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図 6" descr="Fujitsu">
            <a:extLst>
              <a:ext uri="{FF2B5EF4-FFF2-40B4-BE49-F238E27FC236}">
                <a16:creationId xmlns:a16="http://schemas.microsoft.com/office/drawing/2014/main" id="{22777F4C-70BC-40F5-9740-6775CB07AEE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69274" y="180891"/>
            <a:ext cx="739862" cy="360000"/>
          </a:xfrm>
          <a:prstGeom prst="rect">
            <a:avLst/>
          </a:prstGeom>
        </p:spPr>
      </p:pic>
      <p:sp>
        <p:nvSpPr>
          <p:cNvPr id="3" name="タイトル 2">
            <a:extLst>
              <a:ext uri="{FF2B5EF4-FFF2-40B4-BE49-F238E27FC236}">
                <a16:creationId xmlns:a16="http://schemas.microsoft.com/office/drawing/2014/main" id="{85F77DF4-84F9-4F8F-8A0E-AF3B283C4F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10" name="コンテンツ プレースホルダー 9">
            <a:extLst>
              <a:ext uri="{FF2B5EF4-FFF2-40B4-BE49-F238E27FC236}">
                <a16:creationId xmlns:a16="http://schemas.microsoft.com/office/drawing/2014/main" id="{B60F4D62-2B92-4299-B68D-0C70961FC88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230400" y="950400"/>
            <a:ext cx="8679600" cy="3787200"/>
          </a:xfrm>
        </p:spPr>
        <p:txBody>
          <a:bodyPr/>
          <a:lstStyle>
            <a:lvl1pPr>
              <a:buClr>
                <a:schemeClr val="tx1">
                  <a:lumMod val="50000"/>
                  <a:lumOff val="50000"/>
                </a:schemeClr>
              </a:buClr>
              <a:defRPr/>
            </a:lvl1pPr>
            <a:lvl2pPr>
              <a:buClr>
                <a:schemeClr val="tx1">
                  <a:lumMod val="50000"/>
                  <a:lumOff val="50000"/>
                </a:schemeClr>
              </a:buClr>
              <a:defRPr/>
            </a:lvl2pPr>
            <a:lvl3pPr>
              <a:buClr>
                <a:schemeClr val="tx1">
                  <a:lumMod val="50000"/>
                  <a:lumOff val="50000"/>
                </a:schemeClr>
              </a:buClr>
              <a:defRPr/>
            </a:lvl3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メイリオ"/>
                <a:cs typeface="Arial" panose="020B0604020202020204" pitchFamily="34" charset="0"/>
              </a:rPr>
              <a:t>© 2021 Fujitsu Limited</a:t>
            </a:r>
            <a:endParaRPr kumimoji="1" lang="ja-JP" altLang="en-US" sz="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メイリオ"/>
              <a:cs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D029D89-7B63-4C94-AD4D-2E4D6BB83637}" type="slidenum">
              <a:rPr kumimoji="1" lang="ja-JP" altLang="en-US" smtClean="0"/>
              <a:pPr>
                <a:defRPr/>
              </a:pPr>
              <a:t>‹#›</a:t>
            </a:fld>
            <a:endParaRPr kumimoji="1" lang="ja-JP" altLang="en-US"/>
          </a:p>
        </p:txBody>
      </p:sp>
      <p:pic>
        <p:nvPicPr>
          <p:cNvPr id="8" name="図 7" descr="FUJITSU-RESTRICTED">
            <a:extLst>
              <a:ext uri="{FF2B5EF4-FFF2-40B4-BE49-F238E27FC236}">
                <a16:creationId xmlns:a16="http://schemas.microsoft.com/office/drawing/2014/main" id="{808DC641-9389-4AC6-99AB-9D60A778490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30400" y="4863874"/>
            <a:ext cx="1292691" cy="166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7949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E5D8D6-2FA4-485C-9DC5-C6123E68D51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375"/>
            <a:ext cx="6858000" cy="1790700"/>
          </a:xfrm>
          <a:prstGeom prst="rect">
            <a:avLst/>
          </a:prstGeom>
        </p:spPr>
        <p:txBody>
          <a:bodyPr anchor="b"/>
          <a:lstStyle>
            <a:lvl1pPr algn="ctr"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3D8F85B-8A0D-4AAC-80F1-3F8DB7EC7A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925"/>
            <a:ext cx="6858000" cy="124142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920"/>
            </a:lvl1pPr>
            <a:lvl2pPr marL="457200" indent="0" algn="ctr">
              <a:buNone/>
              <a:defRPr sz="1600"/>
            </a:lvl2pPr>
            <a:lvl3pPr marL="914400" indent="0" algn="ctr">
              <a:buNone/>
              <a:defRPr sz="1440"/>
            </a:lvl3pPr>
            <a:lvl4pPr marL="1371600" indent="0" algn="ctr">
              <a:buNone/>
              <a:defRPr sz="1280"/>
            </a:lvl4pPr>
            <a:lvl5pPr marL="1828800" indent="0" algn="ctr">
              <a:buNone/>
              <a:defRPr sz="1280"/>
            </a:lvl5pPr>
            <a:lvl6pPr marL="2286000" indent="0" algn="ctr">
              <a:buNone/>
              <a:defRPr sz="1280"/>
            </a:lvl6pPr>
            <a:lvl7pPr marL="2743200" indent="0" algn="ctr">
              <a:buNone/>
              <a:defRPr sz="1280"/>
            </a:lvl7pPr>
            <a:lvl8pPr marL="3200400" indent="0" algn="ctr">
              <a:buNone/>
              <a:defRPr sz="1280"/>
            </a:lvl8pPr>
            <a:lvl9pPr marL="3657600" indent="0" algn="ctr">
              <a:buNone/>
              <a:defRPr sz="128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5B1F04A-5B05-4CAF-8F7D-95BB147BA0C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altLang="ja-JP">
                <a:solidFill>
                  <a:srgbClr val="000000"/>
                </a:solidFill>
              </a:rPr>
              <a:t>Copyright 2021 FUJITSU LIMITED</a:t>
            </a:r>
            <a:endParaRPr lang="de-DE" altLang="ja-JP">
              <a:solidFill>
                <a:srgbClr val="000000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9F740B-6850-4402-8E0A-D8E7C444B60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B5B02AC-72C7-48A8-B1FA-68CE81373FC9}" type="slidenum">
              <a:rPr lang="en-US" altLang="ja-JP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83690635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図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254"/>
            <a:ext cx="9144000" cy="5140999"/>
          </a:xfrm>
          <a:prstGeom prst="rect">
            <a:avLst/>
          </a:prstGeom>
        </p:spPr>
      </p:pic>
      <p:sp>
        <p:nvSpPr>
          <p:cNvPr id="40" name="Rectangle 42"/>
          <p:cNvSpPr>
            <a:spLocks noGrp="1" noChangeArrowheads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defRPr>
            </a:lvl1pPr>
          </a:lstStyle>
          <a:p>
            <a:pPr>
              <a:defRPr/>
            </a:pPr>
            <a:r>
              <a:rPr lang="de-DE" altLang="ja-JP"/>
              <a:t>Copyright 2021 FUJITSU LIMITED</a:t>
            </a:r>
          </a:p>
        </p:txBody>
      </p:sp>
      <p:sp>
        <p:nvSpPr>
          <p:cNvPr id="46" name="Title 47"/>
          <p:cNvSpPr>
            <a:spLocks noGrp="1"/>
          </p:cNvSpPr>
          <p:nvPr>
            <p:ph type="title" hasCustomPrompt="1"/>
          </p:nvPr>
        </p:nvSpPr>
        <p:spPr bwMode="gray">
          <a:xfrm>
            <a:off x="3851920" y="1360690"/>
            <a:ext cx="4968552" cy="112700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defTabSz="913784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tabLst>
                <a:tab pos="3674169" algn="l"/>
              </a:tabLst>
              <a:defRPr kumimoji="1" lang="en-US" altLang="ja-JP" sz="2240" kern="1200" baseline="0" noProof="0" smtClean="0">
                <a:solidFill>
                  <a:schemeClr val="bg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j-cs"/>
              </a:defRPr>
            </a:lvl1pPr>
          </a:lstStyle>
          <a:p>
            <a:r>
              <a:rPr lang="ja-JP" altLang="en-US" noProof="0"/>
              <a:t>プレゼンテーションタイトル</a:t>
            </a:r>
            <a:endParaRPr lang="en-US" noProof="0"/>
          </a:p>
        </p:txBody>
      </p:sp>
      <p:sp>
        <p:nvSpPr>
          <p:cNvPr id="48" name="テキスト プレースホルダー 9"/>
          <p:cNvSpPr>
            <a:spLocks noGrp="1"/>
          </p:cNvSpPr>
          <p:nvPr>
            <p:ph type="body" sz="quarter" idx="11" hasCustomPrompt="1"/>
          </p:nvPr>
        </p:nvSpPr>
        <p:spPr>
          <a:xfrm>
            <a:off x="3853387" y="3127161"/>
            <a:ext cx="4968552" cy="246145"/>
          </a:xfrm>
        </p:spPr>
        <p:txBody>
          <a:bodyPr wrap="square" anchor="b">
            <a:spAutoFit/>
          </a:bodyPr>
          <a:lstStyle>
            <a:lvl1pPr marL="0" indent="0" algn="l">
              <a:lnSpc>
                <a:spcPct val="100000"/>
              </a:lnSpc>
              <a:buNone/>
              <a:defRPr sz="1280" baseline="0">
                <a:solidFill>
                  <a:schemeClr val="bg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defRPr>
            </a:lvl1pPr>
          </a:lstStyle>
          <a:p>
            <a:r>
              <a:rPr lang="ja-JP" altLang="en-US"/>
              <a:t>役職名</a:t>
            </a:r>
            <a:endParaRPr lang="de-DE" altLang="ja-JP"/>
          </a:p>
        </p:txBody>
      </p:sp>
      <p:sp>
        <p:nvSpPr>
          <p:cNvPr id="49" name="テキスト プレースホルダー 9"/>
          <p:cNvSpPr>
            <a:spLocks noGrp="1"/>
          </p:cNvSpPr>
          <p:nvPr>
            <p:ph type="body" sz="quarter" idx="12" hasCustomPrompt="1"/>
          </p:nvPr>
        </p:nvSpPr>
        <p:spPr>
          <a:xfrm>
            <a:off x="3851920" y="2819256"/>
            <a:ext cx="4968552" cy="246145"/>
          </a:xfrm>
        </p:spPr>
        <p:txBody>
          <a:bodyPr wrap="square" anchor="t">
            <a:spAutoFit/>
          </a:bodyPr>
          <a:lstStyle>
            <a:lvl1pPr marL="0" indent="0" algn="l">
              <a:lnSpc>
                <a:spcPct val="100000"/>
              </a:lnSpc>
              <a:buNone/>
              <a:defRPr sz="1280" baseline="0">
                <a:solidFill>
                  <a:schemeClr val="bg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defRPr>
            </a:lvl1pPr>
          </a:lstStyle>
          <a:p>
            <a:r>
              <a:rPr lang="ja-JP" altLang="en-US"/>
              <a:t>会社名</a:t>
            </a:r>
            <a:endParaRPr lang="de-DE" altLang="ja-JP"/>
          </a:p>
        </p:txBody>
      </p:sp>
      <p:sp>
        <p:nvSpPr>
          <p:cNvPr id="11" name="テキスト プレースホルダー 42"/>
          <p:cNvSpPr>
            <a:spLocks noGrp="1"/>
          </p:cNvSpPr>
          <p:nvPr>
            <p:ph type="body" sz="quarter" idx="18" hasCustomPrompt="1"/>
          </p:nvPr>
        </p:nvSpPr>
        <p:spPr>
          <a:xfrm>
            <a:off x="467545" y="412177"/>
            <a:ext cx="2462649" cy="175692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2080">
                <a:solidFill>
                  <a:schemeClr val="bg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defRPr>
            </a:lvl1pPr>
          </a:lstStyle>
          <a:p>
            <a:pPr lvl="0"/>
            <a:r>
              <a:rPr kumimoji="1" lang="ja-JP" altLang="en-US"/>
              <a:t>タイトル</a:t>
            </a:r>
          </a:p>
        </p:txBody>
      </p:sp>
      <p:sp>
        <p:nvSpPr>
          <p:cNvPr id="12" name="テキスト プレースホルダー 42"/>
          <p:cNvSpPr>
            <a:spLocks noGrp="1"/>
          </p:cNvSpPr>
          <p:nvPr>
            <p:ph type="body" sz="quarter" idx="20" hasCustomPrompt="1"/>
          </p:nvPr>
        </p:nvSpPr>
        <p:spPr>
          <a:xfrm>
            <a:off x="466911" y="2768026"/>
            <a:ext cx="2462650" cy="28119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80" baseline="0">
                <a:solidFill>
                  <a:schemeClr val="bg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defRPr>
            </a:lvl1pPr>
          </a:lstStyle>
          <a:p>
            <a:pPr lvl="0"/>
            <a:r>
              <a:rPr kumimoji="1" lang="ja-JP" altLang="en-US"/>
              <a:t>日時</a:t>
            </a:r>
          </a:p>
        </p:txBody>
      </p:sp>
      <p:sp>
        <p:nvSpPr>
          <p:cNvPr id="13" name="テキスト プレースホルダー 42"/>
          <p:cNvSpPr>
            <a:spLocks noGrp="1"/>
          </p:cNvSpPr>
          <p:nvPr>
            <p:ph type="body" sz="quarter" idx="21" hasCustomPrompt="1"/>
          </p:nvPr>
        </p:nvSpPr>
        <p:spPr>
          <a:xfrm>
            <a:off x="466911" y="2439424"/>
            <a:ext cx="2462650" cy="28119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80" baseline="0">
                <a:solidFill>
                  <a:schemeClr val="bg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defRPr>
            </a:lvl1pPr>
          </a:lstStyle>
          <a:p>
            <a:pPr lvl="0"/>
            <a:r>
              <a:rPr kumimoji="1" lang="ja-JP" altLang="en-US"/>
              <a:t>会場</a:t>
            </a:r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854511" y="3497164"/>
            <a:ext cx="4968552" cy="369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456890" rtl="0" eaLnBrk="1" fontAlgn="base" latinLnBrk="0" hangingPunct="1">
              <a:lnSpc>
                <a:spcPct val="100000"/>
              </a:lnSpc>
              <a:spcBef>
                <a:spcPts val="500"/>
              </a:spcBef>
              <a:spcAft>
                <a:spcPts val="200"/>
              </a:spcAft>
              <a:buClr>
                <a:srgbClr val="A30B1A"/>
              </a:buClr>
              <a:buFont typeface="Wingdings" pitchFamily="2" charset="2"/>
              <a:buNone/>
              <a:defRPr kumimoji="1" lang="en-US" altLang="ja-JP" sz="1920" b="0" kern="1200" baseline="0" noProof="0" dirty="0">
                <a:solidFill>
                  <a:schemeClr val="bg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1920">
                <a:solidFill>
                  <a:schemeClr val="tx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1920">
                <a:solidFill>
                  <a:schemeClr val="tx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192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1920">
                <a:solidFill>
                  <a:schemeClr val="tx1"/>
                </a:solidFill>
              </a:defRPr>
            </a:lvl5pPr>
            <a:lvl6pPr marL="228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ja-JP" altLang="en-US"/>
              <a:t>プレゼンター氏名</a:t>
            </a:r>
            <a:endParaRPr lang="de-DE" altLang="ja-JP"/>
          </a:p>
        </p:txBody>
      </p:sp>
    </p:spTree>
    <p:extLst>
      <p:ext uri="{BB962C8B-B14F-4D97-AF65-F5344CB8AC3E}">
        <p14:creationId xmlns:p14="http://schemas.microsoft.com/office/powerpoint/2010/main" val="5076176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_Red_Symbolm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DDC6FE9F-84F7-4FB8-A5B8-343E4208C15B}"/>
              </a:ext>
            </a:extLst>
          </p:cNvPr>
          <p:cNvSpPr/>
          <p:nvPr userDrawn="1"/>
        </p:nvSpPr>
        <p:spPr bwMode="gray">
          <a:xfrm>
            <a:off x="0" y="1"/>
            <a:ext cx="9144000" cy="5137154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75000"/>
                  <a:lumOff val="25000"/>
                </a:schemeClr>
              </a:gs>
              <a:gs pos="41000">
                <a:schemeClr val="bg1">
                  <a:lumMod val="85000"/>
                  <a:shade val="67500"/>
                  <a:satMod val="115000"/>
                </a:schemeClr>
              </a:gs>
              <a:gs pos="100000">
                <a:schemeClr val="bg1">
                  <a:lumMod val="85000"/>
                  <a:shade val="100000"/>
                  <a:satMod val="115000"/>
                </a:schemeClr>
              </a:gs>
            </a:gsLst>
            <a:lin ang="13500000" scaled="1"/>
            <a:tileRect/>
          </a:gradFill>
          <a:ln w="1905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333" rtl="0" eaLnBrk="1" fontAlgn="ctr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ja-JP" altLang="en-US" sz="1800" b="0" i="0" u="none" strike="noStrike" cap="none" normalizeH="0" baseline="0">
              <a:ln>
                <a:noFill/>
              </a:ln>
              <a:effectLst/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9" name="フッター プレースホルダー 3"/>
          <p:cNvSpPr>
            <a:spLocks noGrp="1"/>
          </p:cNvSpPr>
          <p:nvPr>
            <p:ph type="ftr" sz="quarter" idx="10"/>
          </p:nvPr>
        </p:nvSpPr>
        <p:spPr>
          <a:xfrm>
            <a:off x="4932363" y="4935606"/>
            <a:ext cx="3960812" cy="201551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ja-JP"/>
              <a:t>Copyright 2021 FUJITSU LIMITED</a:t>
            </a:r>
            <a:endParaRPr lang="de-DE" altLang="ja-JP"/>
          </a:p>
        </p:txBody>
      </p:sp>
      <p:pic>
        <p:nvPicPr>
          <p:cNvPr id="26" name="図 2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0" y="5654"/>
            <a:ext cx="3489075" cy="3783432"/>
          </a:xfrm>
          <a:prstGeom prst="rect">
            <a:avLst/>
          </a:prstGeom>
        </p:spPr>
      </p:pic>
      <p:sp>
        <p:nvSpPr>
          <p:cNvPr id="27" name="タイトル 1"/>
          <p:cNvSpPr>
            <a:spLocks noGrp="1"/>
          </p:cNvSpPr>
          <p:nvPr>
            <p:ph type="title" hasCustomPrompt="1"/>
          </p:nvPr>
        </p:nvSpPr>
        <p:spPr>
          <a:xfrm>
            <a:off x="467544" y="503209"/>
            <a:ext cx="2520282" cy="2428472"/>
          </a:xfrm>
        </p:spPr>
        <p:txBody>
          <a:bodyPr anchor="t"/>
          <a:lstStyle>
            <a:lvl1pPr algn="l"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 altLang="ja-JP"/>
              <a:t>Chapter Title</a:t>
            </a:r>
            <a:endParaRPr lang="ja-JP" altLang="en-US"/>
          </a:p>
        </p:txBody>
      </p:sp>
      <p:pic>
        <p:nvPicPr>
          <p:cNvPr id="29" name="図 2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7991" y="247970"/>
            <a:ext cx="1216206" cy="613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017308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図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253"/>
            <a:ext cx="9144000" cy="5140999"/>
          </a:xfrm>
          <a:prstGeom prst="rect">
            <a:avLst/>
          </a:prstGeom>
        </p:spPr>
      </p:pic>
      <p:sp>
        <p:nvSpPr>
          <p:cNvPr id="40" name="Rectangle 42"/>
          <p:cNvSpPr>
            <a:spLocks noGrp="1" noChangeArrowheads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defRPr>
            </a:lvl1pPr>
          </a:lstStyle>
          <a:p>
            <a:pPr>
              <a:defRPr/>
            </a:pPr>
            <a:r>
              <a:rPr lang="de-DE" altLang="ja-JP"/>
              <a:t>Copyright 2021 FUJITSU LIMITED</a:t>
            </a:r>
          </a:p>
        </p:txBody>
      </p:sp>
      <p:sp>
        <p:nvSpPr>
          <p:cNvPr id="46" name="Title 47"/>
          <p:cNvSpPr>
            <a:spLocks noGrp="1"/>
          </p:cNvSpPr>
          <p:nvPr>
            <p:ph type="title" hasCustomPrompt="1"/>
          </p:nvPr>
        </p:nvSpPr>
        <p:spPr bwMode="gray">
          <a:xfrm>
            <a:off x="3851920" y="1360690"/>
            <a:ext cx="4968552" cy="112700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defTabSz="913806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tabLst>
                <a:tab pos="3674261" algn="l"/>
              </a:tabLst>
              <a:defRPr kumimoji="1" lang="en-US" altLang="ja-JP" sz="2240" kern="1200" baseline="0" noProof="0" smtClean="0">
                <a:solidFill>
                  <a:schemeClr val="bg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j-cs"/>
              </a:defRPr>
            </a:lvl1pPr>
          </a:lstStyle>
          <a:p>
            <a:r>
              <a:rPr lang="ja-JP" altLang="en-US" noProof="0"/>
              <a:t>プレゼンテーションタイトル</a:t>
            </a:r>
            <a:endParaRPr lang="en-US" noProof="0"/>
          </a:p>
        </p:txBody>
      </p:sp>
      <p:sp>
        <p:nvSpPr>
          <p:cNvPr id="48" name="テキスト プレースホルダー 9"/>
          <p:cNvSpPr>
            <a:spLocks noGrp="1"/>
          </p:cNvSpPr>
          <p:nvPr>
            <p:ph type="body" sz="quarter" idx="11" hasCustomPrompt="1"/>
          </p:nvPr>
        </p:nvSpPr>
        <p:spPr>
          <a:xfrm>
            <a:off x="3853387" y="3127160"/>
            <a:ext cx="4968552" cy="246145"/>
          </a:xfrm>
        </p:spPr>
        <p:txBody>
          <a:bodyPr wrap="square" anchor="b">
            <a:spAutoFit/>
          </a:bodyPr>
          <a:lstStyle>
            <a:lvl1pPr marL="0" indent="0" algn="l">
              <a:lnSpc>
                <a:spcPct val="100000"/>
              </a:lnSpc>
              <a:buNone/>
              <a:defRPr sz="1280" baseline="0">
                <a:solidFill>
                  <a:schemeClr val="bg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defRPr>
            </a:lvl1pPr>
          </a:lstStyle>
          <a:p>
            <a:r>
              <a:rPr lang="ja-JP" altLang="en-US"/>
              <a:t>役職名</a:t>
            </a:r>
            <a:endParaRPr lang="de-DE" altLang="ja-JP"/>
          </a:p>
        </p:txBody>
      </p:sp>
      <p:sp>
        <p:nvSpPr>
          <p:cNvPr id="49" name="テキスト プレースホルダー 9"/>
          <p:cNvSpPr>
            <a:spLocks noGrp="1"/>
          </p:cNvSpPr>
          <p:nvPr>
            <p:ph type="body" sz="quarter" idx="12" hasCustomPrompt="1"/>
          </p:nvPr>
        </p:nvSpPr>
        <p:spPr>
          <a:xfrm>
            <a:off x="3851920" y="2819255"/>
            <a:ext cx="4968552" cy="246145"/>
          </a:xfrm>
        </p:spPr>
        <p:txBody>
          <a:bodyPr wrap="square" anchor="t">
            <a:spAutoFit/>
          </a:bodyPr>
          <a:lstStyle>
            <a:lvl1pPr marL="0" indent="0" algn="l">
              <a:lnSpc>
                <a:spcPct val="100000"/>
              </a:lnSpc>
              <a:buNone/>
              <a:defRPr sz="1280" baseline="0">
                <a:solidFill>
                  <a:schemeClr val="bg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defRPr>
            </a:lvl1pPr>
          </a:lstStyle>
          <a:p>
            <a:r>
              <a:rPr lang="ja-JP" altLang="en-US"/>
              <a:t>会社名</a:t>
            </a:r>
            <a:endParaRPr lang="de-DE" altLang="ja-JP"/>
          </a:p>
        </p:txBody>
      </p:sp>
      <p:sp>
        <p:nvSpPr>
          <p:cNvPr id="11" name="テキスト プレースホルダー 42"/>
          <p:cNvSpPr>
            <a:spLocks noGrp="1"/>
          </p:cNvSpPr>
          <p:nvPr>
            <p:ph type="body" sz="quarter" idx="18" hasCustomPrompt="1"/>
          </p:nvPr>
        </p:nvSpPr>
        <p:spPr>
          <a:xfrm>
            <a:off x="467545" y="412177"/>
            <a:ext cx="2462649" cy="175692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2080">
                <a:solidFill>
                  <a:schemeClr val="bg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defRPr>
            </a:lvl1pPr>
          </a:lstStyle>
          <a:p>
            <a:pPr lvl="0"/>
            <a:r>
              <a:rPr kumimoji="1" lang="ja-JP" altLang="en-US"/>
              <a:t>タイトル</a:t>
            </a:r>
          </a:p>
        </p:txBody>
      </p:sp>
      <p:sp>
        <p:nvSpPr>
          <p:cNvPr id="12" name="テキスト プレースホルダー 42"/>
          <p:cNvSpPr>
            <a:spLocks noGrp="1"/>
          </p:cNvSpPr>
          <p:nvPr>
            <p:ph type="body" sz="quarter" idx="20" hasCustomPrompt="1"/>
          </p:nvPr>
        </p:nvSpPr>
        <p:spPr>
          <a:xfrm>
            <a:off x="466911" y="2768026"/>
            <a:ext cx="2462650" cy="28119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80" baseline="0">
                <a:solidFill>
                  <a:schemeClr val="bg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defRPr>
            </a:lvl1pPr>
          </a:lstStyle>
          <a:p>
            <a:pPr lvl="0"/>
            <a:r>
              <a:rPr kumimoji="1" lang="ja-JP" altLang="en-US"/>
              <a:t>日時</a:t>
            </a:r>
          </a:p>
        </p:txBody>
      </p:sp>
      <p:sp>
        <p:nvSpPr>
          <p:cNvPr id="13" name="テキスト プレースホルダー 42"/>
          <p:cNvSpPr>
            <a:spLocks noGrp="1"/>
          </p:cNvSpPr>
          <p:nvPr>
            <p:ph type="body" sz="quarter" idx="21" hasCustomPrompt="1"/>
          </p:nvPr>
        </p:nvSpPr>
        <p:spPr>
          <a:xfrm>
            <a:off x="466911" y="2439424"/>
            <a:ext cx="2462650" cy="28119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80" baseline="0">
                <a:solidFill>
                  <a:schemeClr val="bg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defRPr>
            </a:lvl1pPr>
          </a:lstStyle>
          <a:p>
            <a:pPr lvl="0"/>
            <a:r>
              <a:rPr kumimoji="1" lang="ja-JP" altLang="en-US"/>
              <a:t>会場</a:t>
            </a:r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854511" y="3497164"/>
            <a:ext cx="4968552" cy="369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456902" rtl="0" eaLnBrk="1" fontAlgn="base" latinLnBrk="0" hangingPunct="1">
              <a:lnSpc>
                <a:spcPct val="100000"/>
              </a:lnSpc>
              <a:spcBef>
                <a:spcPts val="500"/>
              </a:spcBef>
              <a:spcAft>
                <a:spcPts val="200"/>
              </a:spcAft>
              <a:buClr>
                <a:srgbClr val="A30B1A"/>
              </a:buClr>
              <a:buFont typeface="Wingdings" pitchFamily="2" charset="2"/>
              <a:buNone/>
              <a:defRPr kumimoji="1" lang="en-US" altLang="ja-JP" sz="1920" b="0" kern="1200" baseline="0" noProof="0" dirty="0">
                <a:solidFill>
                  <a:schemeClr val="bg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1920">
                <a:solidFill>
                  <a:schemeClr val="tx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1920">
                <a:solidFill>
                  <a:schemeClr val="tx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192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1920">
                <a:solidFill>
                  <a:schemeClr val="tx1"/>
                </a:solidFill>
              </a:defRPr>
            </a:lvl5pPr>
            <a:lvl6pPr marL="22845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2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ja-JP" altLang="en-US"/>
              <a:t>プレゼンター氏名</a:t>
            </a:r>
            <a:endParaRPr lang="de-DE" altLang="ja-JP"/>
          </a:p>
        </p:txBody>
      </p:sp>
    </p:spTree>
    <p:extLst>
      <p:ext uri="{BB962C8B-B14F-4D97-AF65-F5344CB8AC3E}">
        <p14:creationId xmlns:p14="http://schemas.microsoft.com/office/powerpoint/2010/main" val="262395996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pter_Red_Symbolm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DDC6FE9F-84F7-4FB8-A5B8-343E4208C15B}"/>
              </a:ext>
            </a:extLst>
          </p:cNvPr>
          <p:cNvSpPr/>
          <p:nvPr userDrawn="1"/>
        </p:nvSpPr>
        <p:spPr bwMode="gray">
          <a:xfrm>
            <a:off x="0" y="1"/>
            <a:ext cx="9144000" cy="5137154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75000"/>
                  <a:lumOff val="25000"/>
                </a:schemeClr>
              </a:gs>
              <a:gs pos="41000">
                <a:schemeClr val="bg1">
                  <a:lumMod val="85000"/>
                  <a:shade val="67500"/>
                  <a:satMod val="115000"/>
                </a:schemeClr>
              </a:gs>
              <a:gs pos="100000">
                <a:schemeClr val="bg1">
                  <a:lumMod val="85000"/>
                  <a:shade val="100000"/>
                  <a:satMod val="115000"/>
                </a:schemeClr>
              </a:gs>
            </a:gsLst>
            <a:lin ang="13500000" scaled="1"/>
            <a:tileRect/>
          </a:gradFill>
          <a:ln w="1905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355" rtl="0" eaLnBrk="1" fontAlgn="ctr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ja-JP" altLang="en-US" sz="1800" b="0" i="0" u="none" strike="noStrike" cap="none" normalizeH="0" baseline="0">
              <a:ln>
                <a:noFill/>
              </a:ln>
              <a:effectLst/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9" name="フッター プレースホルダー 3"/>
          <p:cNvSpPr>
            <a:spLocks noGrp="1"/>
          </p:cNvSpPr>
          <p:nvPr>
            <p:ph type="ftr" sz="quarter" idx="10"/>
          </p:nvPr>
        </p:nvSpPr>
        <p:spPr>
          <a:xfrm>
            <a:off x="4932363" y="4935605"/>
            <a:ext cx="3960812" cy="201551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ja-JP"/>
              <a:t>Copyright 2021 FUJITSU LIMITED</a:t>
            </a:r>
            <a:endParaRPr lang="de-DE" altLang="ja-JP"/>
          </a:p>
        </p:txBody>
      </p:sp>
      <p:pic>
        <p:nvPicPr>
          <p:cNvPr id="26" name="図 2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0" y="5654"/>
            <a:ext cx="3489075" cy="3783432"/>
          </a:xfrm>
          <a:prstGeom prst="rect">
            <a:avLst/>
          </a:prstGeom>
        </p:spPr>
      </p:pic>
      <p:sp>
        <p:nvSpPr>
          <p:cNvPr id="27" name="タイトル 1"/>
          <p:cNvSpPr>
            <a:spLocks noGrp="1"/>
          </p:cNvSpPr>
          <p:nvPr>
            <p:ph type="title" hasCustomPrompt="1"/>
          </p:nvPr>
        </p:nvSpPr>
        <p:spPr>
          <a:xfrm>
            <a:off x="467544" y="503209"/>
            <a:ext cx="2520282" cy="2428472"/>
          </a:xfrm>
        </p:spPr>
        <p:txBody>
          <a:bodyPr anchor="t"/>
          <a:lstStyle>
            <a:lvl1pPr algn="l"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 altLang="ja-JP"/>
              <a:t>Chapter Title</a:t>
            </a:r>
            <a:endParaRPr lang="ja-JP" altLang="en-US"/>
          </a:p>
        </p:txBody>
      </p:sp>
      <p:pic>
        <p:nvPicPr>
          <p:cNvPr id="29" name="図 2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7991" y="247969"/>
            <a:ext cx="1216206" cy="613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345685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図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252"/>
            <a:ext cx="9144000" cy="5140999"/>
          </a:xfrm>
          <a:prstGeom prst="rect">
            <a:avLst/>
          </a:prstGeom>
        </p:spPr>
      </p:pic>
      <p:sp>
        <p:nvSpPr>
          <p:cNvPr id="40" name="Rectangle 42"/>
          <p:cNvSpPr>
            <a:spLocks noGrp="1" noChangeArrowheads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defRPr>
            </a:lvl1pPr>
          </a:lstStyle>
          <a:p>
            <a:pPr>
              <a:defRPr/>
            </a:pPr>
            <a:r>
              <a:rPr lang="de-DE" altLang="ja-JP"/>
              <a:t>Copyright 2021 FUJITSU LIMITED</a:t>
            </a:r>
          </a:p>
        </p:txBody>
      </p:sp>
      <p:sp>
        <p:nvSpPr>
          <p:cNvPr id="46" name="Title 47"/>
          <p:cNvSpPr>
            <a:spLocks noGrp="1"/>
          </p:cNvSpPr>
          <p:nvPr>
            <p:ph type="title" hasCustomPrompt="1"/>
          </p:nvPr>
        </p:nvSpPr>
        <p:spPr bwMode="gray">
          <a:xfrm>
            <a:off x="3851920" y="1360689"/>
            <a:ext cx="4968552" cy="112700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defTabSz="913829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tabLst>
                <a:tab pos="3674352" algn="l"/>
              </a:tabLst>
              <a:defRPr kumimoji="1" lang="en-US" altLang="ja-JP" sz="2240" kern="1200" baseline="0" noProof="0" smtClean="0">
                <a:solidFill>
                  <a:schemeClr val="bg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j-cs"/>
              </a:defRPr>
            </a:lvl1pPr>
          </a:lstStyle>
          <a:p>
            <a:r>
              <a:rPr lang="ja-JP" altLang="en-US" noProof="0"/>
              <a:t>プレゼンテーションタイトル</a:t>
            </a:r>
            <a:endParaRPr lang="en-US" noProof="0"/>
          </a:p>
        </p:txBody>
      </p:sp>
      <p:sp>
        <p:nvSpPr>
          <p:cNvPr id="48" name="テキスト プレースホルダー 9"/>
          <p:cNvSpPr>
            <a:spLocks noGrp="1"/>
          </p:cNvSpPr>
          <p:nvPr>
            <p:ph type="body" sz="quarter" idx="11" hasCustomPrompt="1"/>
          </p:nvPr>
        </p:nvSpPr>
        <p:spPr>
          <a:xfrm>
            <a:off x="3853387" y="3127159"/>
            <a:ext cx="4968552" cy="246145"/>
          </a:xfrm>
        </p:spPr>
        <p:txBody>
          <a:bodyPr wrap="square" anchor="b">
            <a:spAutoFit/>
          </a:bodyPr>
          <a:lstStyle>
            <a:lvl1pPr marL="0" indent="0" algn="l">
              <a:lnSpc>
                <a:spcPct val="100000"/>
              </a:lnSpc>
              <a:buNone/>
              <a:defRPr sz="1280" baseline="0">
                <a:solidFill>
                  <a:schemeClr val="bg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defRPr>
            </a:lvl1pPr>
          </a:lstStyle>
          <a:p>
            <a:r>
              <a:rPr lang="ja-JP" altLang="en-US"/>
              <a:t>役職名</a:t>
            </a:r>
            <a:endParaRPr lang="de-DE" altLang="ja-JP"/>
          </a:p>
        </p:txBody>
      </p:sp>
      <p:sp>
        <p:nvSpPr>
          <p:cNvPr id="49" name="テキスト プレースホルダー 9"/>
          <p:cNvSpPr>
            <a:spLocks noGrp="1"/>
          </p:cNvSpPr>
          <p:nvPr>
            <p:ph type="body" sz="quarter" idx="12" hasCustomPrompt="1"/>
          </p:nvPr>
        </p:nvSpPr>
        <p:spPr>
          <a:xfrm>
            <a:off x="3851920" y="2819254"/>
            <a:ext cx="4968552" cy="246145"/>
          </a:xfrm>
        </p:spPr>
        <p:txBody>
          <a:bodyPr wrap="square" anchor="t">
            <a:spAutoFit/>
          </a:bodyPr>
          <a:lstStyle>
            <a:lvl1pPr marL="0" indent="0" algn="l">
              <a:lnSpc>
                <a:spcPct val="100000"/>
              </a:lnSpc>
              <a:buNone/>
              <a:defRPr sz="1280" baseline="0">
                <a:solidFill>
                  <a:schemeClr val="bg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defRPr>
            </a:lvl1pPr>
          </a:lstStyle>
          <a:p>
            <a:r>
              <a:rPr lang="ja-JP" altLang="en-US"/>
              <a:t>会社名</a:t>
            </a:r>
            <a:endParaRPr lang="de-DE" altLang="ja-JP"/>
          </a:p>
        </p:txBody>
      </p:sp>
      <p:sp>
        <p:nvSpPr>
          <p:cNvPr id="11" name="テキスト プレースホルダー 42"/>
          <p:cNvSpPr>
            <a:spLocks noGrp="1"/>
          </p:cNvSpPr>
          <p:nvPr>
            <p:ph type="body" sz="quarter" idx="18" hasCustomPrompt="1"/>
          </p:nvPr>
        </p:nvSpPr>
        <p:spPr>
          <a:xfrm>
            <a:off x="467545" y="412177"/>
            <a:ext cx="2462649" cy="175692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2080">
                <a:solidFill>
                  <a:schemeClr val="bg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defRPr>
            </a:lvl1pPr>
          </a:lstStyle>
          <a:p>
            <a:pPr lvl="0"/>
            <a:r>
              <a:rPr kumimoji="1" lang="ja-JP" altLang="en-US"/>
              <a:t>タイトル</a:t>
            </a:r>
          </a:p>
        </p:txBody>
      </p:sp>
      <p:sp>
        <p:nvSpPr>
          <p:cNvPr id="12" name="テキスト プレースホルダー 42"/>
          <p:cNvSpPr>
            <a:spLocks noGrp="1"/>
          </p:cNvSpPr>
          <p:nvPr>
            <p:ph type="body" sz="quarter" idx="20" hasCustomPrompt="1"/>
          </p:nvPr>
        </p:nvSpPr>
        <p:spPr>
          <a:xfrm>
            <a:off x="466911" y="2768026"/>
            <a:ext cx="2462650" cy="28119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80" baseline="0">
                <a:solidFill>
                  <a:schemeClr val="bg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defRPr>
            </a:lvl1pPr>
          </a:lstStyle>
          <a:p>
            <a:pPr lvl="0"/>
            <a:r>
              <a:rPr kumimoji="1" lang="ja-JP" altLang="en-US"/>
              <a:t>日時</a:t>
            </a:r>
          </a:p>
        </p:txBody>
      </p:sp>
      <p:sp>
        <p:nvSpPr>
          <p:cNvPr id="13" name="テキスト プレースホルダー 42"/>
          <p:cNvSpPr>
            <a:spLocks noGrp="1"/>
          </p:cNvSpPr>
          <p:nvPr>
            <p:ph type="body" sz="quarter" idx="21" hasCustomPrompt="1"/>
          </p:nvPr>
        </p:nvSpPr>
        <p:spPr>
          <a:xfrm>
            <a:off x="466911" y="2439424"/>
            <a:ext cx="2462650" cy="28119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80" baseline="0">
                <a:solidFill>
                  <a:schemeClr val="bg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defRPr>
            </a:lvl1pPr>
          </a:lstStyle>
          <a:p>
            <a:pPr lvl="0"/>
            <a:r>
              <a:rPr kumimoji="1" lang="ja-JP" altLang="en-US"/>
              <a:t>会場</a:t>
            </a:r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854511" y="3497164"/>
            <a:ext cx="4968552" cy="369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456914" rtl="0" eaLnBrk="1" fontAlgn="base" latinLnBrk="0" hangingPunct="1">
              <a:lnSpc>
                <a:spcPct val="100000"/>
              </a:lnSpc>
              <a:spcBef>
                <a:spcPts val="500"/>
              </a:spcBef>
              <a:spcAft>
                <a:spcPts val="200"/>
              </a:spcAft>
              <a:buClr>
                <a:srgbClr val="A30B1A"/>
              </a:buClr>
              <a:buFont typeface="Wingdings" pitchFamily="2" charset="2"/>
              <a:buNone/>
              <a:defRPr kumimoji="1" lang="en-US" altLang="ja-JP" sz="1920" b="0" kern="1200" baseline="0" noProof="0" dirty="0">
                <a:solidFill>
                  <a:schemeClr val="bg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1920">
                <a:solidFill>
                  <a:schemeClr val="tx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1920">
                <a:solidFill>
                  <a:schemeClr val="tx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192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1920">
                <a:solidFill>
                  <a:schemeClr val="tx1"/>
                </a:solidFill>
              </a:defRPr>
            </a:lvl5pPr>
            <a:lvl6pPr marL="22845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4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3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ja-JP" altLang="en-US"/>
              <a:t>プレゼンター氏名</a:t>
            </a:r>
            <a:endParaRPr lang="de-DE" altLang="ja-JP"/>
          </a:p>
        </p:txBody>
      </p:sp>
    </p:spTree>
    <p:extLst>
      <p:ext uri="{BB962C8B-B14F-4D97-AF65-F5344CB8AC3E}">
        <p14:creationId xmlns:p14="http://schemas.microsoft.com/office/powerpoint/2010/main" val="43829490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pter_Red_Symbolm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DDC6FE9F-84F7-4FB8-A5B8-343E4208C15B}"/>
              </a:ext>
            </a:extLst>
          </p:cNvPr>
          <p:cNvSpPr/>
          <p:nvPr userDrawn="1"/>
        </p:nvSpPr>
        <p:spPr bwMode="gray">
          <a:xfrm>
            <a:off x="0" y="1"/>
            <a:ext cx="9144000" cy="5137154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75000"/>
                  <a:lumOff val="25000"/>
                </a:schemeClr>
              </a:gs>
              <a:gs pos="41000">
                <a:schemeClr val="bg1">
                  <a:lumMod val="85000"/>
                  <a:shade val="67500"/>
                  <a:satMod val="115000"/>
                </a:schemeClr>
              </a:gs>
              <a:gs pos="100000">
                <a:schemeClr val="bg1">
                  <a:lumMod val="85000"/>
                  <a:shade val="100000"/>
                  <a:satMod val="115000"/>
                </a:schemeClr>
              </a:gs>
            </a:gsLst>
            <a:lin ang="13500000" scaled="1"/>
            <a:tileRect/>
          </a:gradFill>
          <a:ln w="1905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378" rtl="0" eaLnBrk="1" fontAlgn="ctr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ja-JP" altLang="en-US" sz="1800" b="0" i="0" u="none" strike="noStrike" cap="none" normalizeH="0" baseline="0">
              <a:ln>
                <a:noFill/>
              </a:ln>
              <a:effectLst/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9" name="フッター プレースホルダー 3"/>
          <p:cNvSpPr>
            <a:spLocks noGrp="1"/>
          </p:cNvSpPr>
          <p:nvPr>
            <p:ph type="ftr" sz="quarter" idx="10"/>
          </p:nvPr>
        </p:nvSpPr>
        <p:spPr>
          <a:xfrm>
            <a:off x="4932363" y="4935604"/>
            <a:ext cx="3960812" cy="201551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ja-JP"/>
              <a:t>Copyright 2021 FUJITSU LIMITED</a:t>
            </a:r>
            <a:endParaRPr lang="de-DE" altLang="ja-JP"/>
          </a:p>
        </p:txBody>
      </p:sp>
      <p:pic>
        <p:nvPicPr>
          <p:cNvPr id="26" name="図 2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9" y="5654"/>
            <a:ext cx="3489075" cy="3783432"/>
          </a:xfrm>
          <a:prstGeom prst="rect">
            <a:avLst/>
          </a:prstGeom>
        </p:spPr>
      </p:pic>
      <p:sp>
        <p:nvSpPr>
          <p:cNvPr id="27" name="タイトル 1"/>
          <p:cNvSpPr>
            <a:spLocks noGrp="1"/>
          </p:cNvSpPr>
          <p:nvPr>
            <p:ph type="title" hasCustomPrompt="1"/>
          </p:nvPr>
        </p:nvSpPr>
        <p:spPr>
          <a:xfrm>
            <a:off x="467544" y="503208"/>
            <a:ext cx="2520282" cy="2428472"/>
          </a:xfrm>
        </p:spPr>
        <p:txBody>
          <a:bodyPr anchor="t"/>
          <a:lstStyle>
            <a:lvl1pPr algn="l"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 altLang="ja-JP"/>
              <a:t>Chapter Title</a:t>
            </a:r>
            <a:endParaRPr lang="ja-JP" altLang="en-US"/>
          </a:p>
        </p:txBody>
      </p:sp>
      <p:pic>
        <p:nvPicPr>
          <p:cNvPr id="29" name="図 2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7991" y="247968"/>
            <a:ext cx="1216206" cy="613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017595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pter_Red_Symbolm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00" name="Picture 4" descr="チェッカーフラッグ とは？ | F1用語集 | Formula1-Data">
            <a:extLst>
              <a:ext uri="{FF2B5EF4-FFF2-40B4-BE49-F238E27FC236}">
                <a16:creationId xmlns:a16="http://schemas.microsoft.com/office/drawing/2014/main" id="{3AAA398B-9942-424B-A046-A53292BB26CE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834"/>
          <a:stretch/>
        </p:blipFill>
        <p:spPr bwMode="auto">
          <a:xfrm flipH="1">
            <a:off x="0" y="0"/>
            <a:ext cx="9141192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フッター プレースホルダー 3"/>
          <p:cNvSpPr>
            <a:spLocks noGrp="1"/>
          </p:cNvSpPr>
          <p:nvPr>
            <p:ph type="ftr" sz="quarter" idx="10"/>
          </p:nvPr>
        </p:nvSpPr>
        <p:spPr>
          <a:xfrm>
            <a:off x="4932363" y="4935604"/>
            <a:ext cx="3960812" cy="20155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altLang="ja-JP"/>
              <a:t>Copyright 2021 FUJITSU LIMITED</a:t>
            </a:r>
            <a:endParaRPr lang="de-DE" altLang="ja-JP"/>
          </a:p>
        </p:txBody>
      </p:sp>
      <p:pic>
        <p:nvPicPr>
          <p:cNvPr id="26" name="図 2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9" y="5654"/>
            <a:ext cx="3489075" cy="3783432"/>
          </a:xfrm>
          <a:prstGeom prst="rect">
            <a:avLst/>
          </a:prstGeom>
        </p:spPr>
      </p:pic>
      <p:sp>
        <p:nvSpPr>
          <p:cNvPr id="27" name="タイトル 1"/>
          <p:cNvSpPr>
            <a:spLocks noGrp="1"/>
          </p:cNvSpPr>
          <p:nvPr>
            <p:ph type="title" hasCustomPrompt="1"/>
          </p:nvPr>
        </p:nvSpPr>
        <p:spPr>
          <a:xfrm>
            <a:off x="467544" y="503208"/>
            <a:ext cx="2520282" cy="2428472"/>
          </a:xfrm>
        </p:spPr>
        <p:txBody>
          <a:bodyPr anchor="t"/>
          <a:lstStyle>
            <a:lvl1pPr algn="l"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 altLang="ja-JP"/>
              <a:t>Chapter Title</a:t>
            </a:r>
            <a:endParaRPr lang="ja-JP" altLang="en-US"/>
          </a:p>
        </p:txBody>
      </p:sp>
      <p:pic>
        <p:nvPicPr>
          <p:cNvPr id="29" name="図 2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7991" y="247968"/>
            <a:ext cx="1216206" cy="613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547551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pter_Red_Symbolm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端までアスファルトじゃだめ？ サーキットにある「しましま」の縁石はなぜあるのか | AUTO MESSE WEB  ～カスタム・アウトドア・福祉車両・モータースポーツなどのカーライフ情報が満載～">
            <a:extLst>
              <a:ext uri="{FF2B5EF4-FFF2-40B4-BE49-F238E27FC236}">
                <a16:creationId xmlns:a16="http://schemas.microsoft.com/office/drawing/2014/main" id="{D902F9BB-2D85-475F-8096-21A4593CEF0F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025" t="1487" r="1025" b="15970"/>
          <a:stretch/>
        </p:blipFill>
        <p:spPr bwMode="auto">
          <a:xfrm>
            <a:off x="-95725" y="1"/>
            <a:ext cx="9335453" cy="5137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フッター プレースホルダー 3"/>
          <p:cNvSpPr>
            <a:spLocks noGrp="1"/>
          </p:cNvSpPr>
          <p:nvPr>
            <p:ph type="ftr" sz="quarter" idx="10"/>
          </p:nvPr>
        </p:nvSpPr>
        <p:spPr>
          <a:xfrm>
            <a:off x="4932363" y="4935604"/>
            <a:ext cx="3960812" cy="20155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altLang="ja-JP"/>
              <a:t>Copyright 2021 FUJITSU LIMITED</a:t>
            </a:r>
            <a:endParaRPr lang="de-DE" altLang="ja-JP"/>
          </a:p>
        </p:txBody>
      </p:sp>
      <p:pic>
        <p:nvPicPr>
          <p:cNvPr id="26" name="図 2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9" y="5654"/>
            <a:ext cx="3489075" cy="3783432"/>
          </a:xfrm>
          <a:prstGeom prst="rect">
            <a:avLst/>
          </a:prstGeom>
        </p:spPr>
      </p:pic>
      <p:sp>
        <p:nvSpPr>
          <p:cNvPr id="27" name="タイトル 1"/>
          <p:cNvSpPr>
            <a:spLocks noGrp="1"/>
          </p:cNvSpPr>
          <p:nvPr>
            <p:ph type="title" hasCustomPrompt="1"/>
          </p:nvPr>
        </p:nvSpPr>
        <p:spPr>
          <a:xfrm>
            <a:off x="467544" y="503208"/>
            <a:ext cx="2520282" cy="2428472"/>
          </a:xfrm>
        </p:spPr>
        <p:txBody>
          <a:bodyPr anchor="t"/>
          <a:lstStyle>
            <a:lvl1pPr algn="l"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 altLang="ja-JP"/>
              <a:t>Chapter Title</a:t>
            </a:r>
            <a:endParaRPr lang="ja-JP" altLang="en-US"/>
          </a:p>
        </p:txBody>
      </p:sp>
      <p:pic>
        <p:nvPicPr>
          <p:cNvPr id="29" name="図 2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7991" y="247968"/>
            <a:ext cx="1216206" cy="613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93551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Mast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図 6">
            <a:extLst>
              <a:ext uri="{FF2B5EF4-FFF2-40B4-BE49-F238E27FC236}">
                <a16:creationId xmlns:a16="http://schemas.microsoft.com/office/drawing/2014/main" id="{95692AF0-2E90-4E8E-8159-82825E6818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01333" y="0"/>
            <a:ext cx="2542667" cy="51434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33999" y="1116000"/>
            <a:ext cx="5400000" cy="1440000"/>
          </a:xfrm>
        </p:spPr>
        <p:txBody>
          <a:bodyPr anchor="b">
            <a:noAutofit/>
          </a:bodyPr>
          <a:lstStyle>
            <a:lvl1pPr algn="l">
              <a:defRPr sz="2560">
                <a:solidFill>
                  <a:schemeClr val="tx1"/>
                </a:solidFill>
              </a:defRPr>
            </a:lvl1pPr>
          </a:lstStyle>
          <a:p>
            <a:r>
              <a:rPr lang="ja-JP" altLang="en-US"/>
              <a:t>タイトルを入力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4000" y="3067200"/>
            <a:ext cx="4748400" cy="1260000"/>
          </a:xfrm>
        </p:spPr>
        <p:txBody>
          <a:bodyPr anchor="t" anchorCtr="0">
            <a:noAutofit/>
          </a:bodyPr>
          <a:lstStyle>
            <a:lvl1pPr marL="0" indent="0" algn="l">
              <a:buNone/>
              <a:defRPr sz="1440">
                <a:solidFill>
                  <a:schemeClr val="tx1"/>
                </a:solidFill>
              </a:defRPr>
            </a:lvl1pPr>
            <a:lvl2pPr marL="342900" indent="0" algn="ctr">
              <a:buNone/>
              <a:defRPr sz="1200"/>
            </a:lvl2pPr>
            <a:lvl3pPr marL="685800" indent="0" algn="ctr">
              <a:buNone/>
              <a:defRPr sz="1080"/>
            </a:lvl3pPr>
            <a:lvl4pPr marL="1028700" indent="0" algn="ctr">
              <a:buNone/>
              <a:defRPr sz="960"/>
            </a:lvl4pPr>
            <a:lvl5pPr marL="1371600" indent="0" algn="ctr">
              <a:buNone/>
              <a:defRPr sz="960"/>
            </a:lvl5pPr>
            <a:lvl6pPr marL="1714500" indent="0" algn="ctr">
              <a:buNone/>
              <a:defRPr sz="960"/>
            </a:lvl6pPr>
            <a:lvl7pPr marL="2057400" indent="0" algn="ctr">
              <a:buNone/>
              <a:defRPr sz="960"/>
            </a:lvl7pPr>
            <a:lvl8pPr marL="2400300" indent="0" algn="ctr">
              <a:buNone/>
              <a:defRPr sz="960"/>
            </a:lvl8pPr>
            <a:lvl9pPr marL="2743200" indent="0" algn="ctr">
              <a:buNone/>
              <a:defRPr sz="960"/>
            </a:lvl9pPr>
          </a:lstStyle>
          <a:p>
            <a:r>
              <a:rPr lang="ja-JP" altLang="en-US"/>
              <a:t>サブタイトルを入力</a:t>
            </a:r>
            <a:endParaRPr lang="en-US"/>
          </a:p>
        </p:txBody>
      </p:sp>
      <p:pic>
        <p:nvPicPr>
          <p:cNvPr id="20" name="図 19">
            <a:extLst>
              <a:ext uri="{FF2B5EF4-FFF2-40B4-BE49-F238E27FC236}">
                <a16:creationId xmlns:a16="http://schemas.microsoft.com/office/drawing/2014/main" id="{943DCFA9-F6CE-4F0F-B3EE-23D84F3C6F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62717" y="1350838"/>
            <a:ext cx="3142798" cy="2442021"/>
          </a:xfrm>
          <a:prstGeom prst="rect">
            <a:avLst/>
          </a:prstGeom>
        </p:spPr>
      </p:pic>
      <p:pic>
        <p:nvPicPr>
          <p:cNvPr id="22" name="図 21" descr="FUJITSU-RESTRICTED">
            <a:extLst>
              <a:ext uri="{FF2B5EF4-FFF2-40B4-BE49-F238E27FC236}">
                <a16:creationId xmlns:a16="http://schemas.microsoft.com/office/drawing/2014/main" id="{9A7F1DCF-6C8B-47E0-BBD7-55A136B6DD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400" y="4863874"/>
            <a:ext cx="1292691" cy="166263"/>
          </a:xfrm>
          <a:prstGeom prst="rect">
            <a:avLst/>
          </a:prstGeom>
        </p:spPr>
      </p:pic>
      <p:grpSp>
        <p:nvGrpSpPr>
          <p:cNvPr id="23" name="Group 22" descr="Fujitsu">
            <a:extLst>
              <a:ext uri="{FF2B5EF4-FFF2-40B4-BE49-F238E27FC236}">
                <a16:creationId xmlns:a16="http://schemas.microsoft.com/office/drawing/2014/main" id="{EA0FA9AC-AC26-48E3-BF47-91D55901E91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940675" y="242808"/>
            <a:ext cx="968769" cy="472173"/>
            <a:chOff x="8012114" y="249161"/>
            <a:chExt cx="892174" cy="434841"/>
          </a:xfrm>
        </p:grpSpPr>
        <p:sp>
          <p:nvSpPr>
            <p:cNvPr id="24" name="Freeform 34">
              <a:extLst>
                <a:ext uri="{FF2B5EF4-FFF2-40B4-BE49-F238E27FC236}">
                  <a16:creationId xmlns:a16="http://schemas.microsoft.com/office/drawing/2014/main" id="{6DD794C0-B5B1-4749-93AE-C0B3DA7765D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307389" y="249161"/>
              <a:ext cx="179387" cy="139657"/>
            </a:xfrm>
            <a:custGeom>
              <a:avLst/>
              <a:gdLst>
                <a:gd name="T0" fmla="*/ 961 w 2365"/>
                <a:gd name="T1" fmla="*/ 764 h 1825"/>
                <a:gd name="T2" fmla="*/ 599 w 2365"/>
                <a:gd name="T3" fmla="*/ 642 h 1825"/>
                <a:gd name="T4" fmla="*/ 1 w 2365"/>
                <a:gd name="T5" fmla="*/ 1235 h 1825"/>
                <a:gd name="T6" fmla="*/ 599 w 2365"/>
                <a:gd name="T7" fmla="*/ 1825 h 1825"/>
                <a:gd name="T8" fmla="*/ 1053 w 2365"/>
                <a:gd name="T9" fmla="*/ 1619 h 1825"/>
                <a:gd name="T10" fmla="*/ 1053 w 2365"/>
                <a:gd name="T11" fmla="*/ 1293 h 1825"/>
                <a:gd name="T12" fmla="*/ 771 w 2365"/>
                <a:gd name="T13" fmla="*/ 1568 h 1825"/>
                <a:gd name="T14" fmla="*/ 599 w 2365"/>
                <a:gd name="T15" fmla="*/ 1604 h 1825"/>
                <a:gd name="T16" fmla="*/ 225 w 2365"/>
                <a:gd name="T17" fmla="*/ 1235 h 1825"/>
                <a:gd name="T18" fmla="*/ 599 w 2365"/>
                <a:gd name="T19" fmla="*/ 863 h 1825"/>
                <a:gd name="T20" fmla="*/ 861 w 2365"/>
                <a:gd name="T21" fmla="*/ 972 h 1825"/>
                <a:gd name="T22" fmla="*/ 1093 w 2365"/>
                <a:gd name="T23" fmla="*/ 1239 h 1825"/>
                <a:gd name="T24" fmla="*/ 1630 w 2365"/>
                <a:gd name="T25" fmla="*/ 1473 h 1825"/>
                <a:gd name="T26" fmla="*/ 2365 w 2365"/>
                <a:gd name="T27" fmla="*/ 741 h 1825"/>
                <a:gd name="T28" fmla="*/ 1630 w 2365"/>
                <a:gd name="T29" fmla="*/ 0 h 1825"/>
                <a:gd name="T30" fmla="*/ 1053 w 2365"/>
                <a:gd name="T31" fmla="*/ 295 h 1825"/>
                <a:gd name="T32" fmla="*/ 1053 w 2365"/>
                <a:gd name="T33" fmla="*/ 735 h 1825"/>
                <a:gd name="T34" fmla="*/ 1630 w 2365"/>
                <a:gd name="T35" fmla="*/ 232 h 1825"/>
                <a:gd name="T36" fmla="*/ 2134 w 2365"/>
                <a:gd name="T37" fmla="*/ 741 h 1825"/>
                <a:gd name="T38" fmla="*/ 1630 w 2365"/>
                <a:gd name="T39" fmla="*/ 1245 h 1825"/>
                <a:gd name="T40" fmla="*/ 1303 w 2365"/>
                <a:gd name="T41" fmla="*/ 1125 h 1825"/>
                <a:gd name="T42" fmla="*/ 961 w 2365"/>
                <a:gd name="T43" fmla="*/ 764 h 18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65" h="1825">
                  <a:moveTo>
                    <a:pt x="961" y="764"/>
                  </a:moveTo>
                  <a:cubicBezTo>
                    <a:pt x="875" y="688"/>
                    <a:pt x="736" y="643"/>
                    <a:pt x="599" y="642"/>
                  </a:cubicBezTo>
                  <a:cubicBezTo>
                    <a:pt x="270" y="641"/>
                    <a:pt x="2" y="900"/>
                    <a:pt x="1" y="1235"/>
                  </a:cubicBezTo>
                  <a:cubicBezTo>
                    <a:pt x="0" y="1563"/>
                    <a:pt x="270" y="1824"/>
                    <a:pt x="599" y="1825"/>
                  </a:cubicBezTo>
                  <a:cubicBezTo>
                    <a:pt x="783" y="1825"/>
                    <a:pt x="943" y="1751"/>
                    <a:pt x="1053" y="1619"/>
                  </a:cubicBezTo>
                  <a:cubicBezTo>
                    <a:pt x="1053" y="1293"/>
                    <a:pt x="1053" y="1293"/>
                    <a:pt x="1053" y="1293"/>
                  </a:cubicBezTo>
                  <a:cubicBezTo>
                    <a:pt x="994" y="1394"/>
                    <a:pt x="877" y="1524"/>
                    <a:pt x="771" y="1568"/>
                  </a:cubicBezTo>
                  <a:cubicBezTo>
                    <a:pt x="717" y="1590"/>
                    <a:pt x="662" y="1604"/>
                    <a:pt x="599" y="1604"/>
                  </a:cubicBezTo>
                  <a:cubicBezTo>
                    <a:pt x="394" y="1604"/>
                    <a:pt x="225" y="1445"/>
                    <a:pt x="225" y="1235"/>
                  </a:cubicBezTo>
                  <a:cubicBezTo>
                    <a:pt x="225" y="1041"/>
                    <a:pt x="380" y="862"/>
                    <a:pt x="599" y="863"/>
                  </a:cubicBezTo>
                  <a:cubicBezTo>
                    <a:pt x="701" y="863"/>
                    <a:pt x="793" y="905"/>
                    <a:pt x="861" y="972"/>
                  </a:cubicBezTo>
                  <a:cubicBezTo>
                    <a:pt x="931" y="1040"/>
                    <a:pt x="1041" y="1183"/>
                    <a:pt x="1093" y="1239"/>
                  </a:cubicBezTo>
                  <a:cubicBezTo>
                    <a:pt x="1227" y="1383"/>
                    <a:pt x="1419" y="1473"/>
                    <a:pt x="1630" y="1473"/>
                  </a:cubicBezTo>
                  <a:cubicBezTo>
                    <a:pt x="2036" y="1474"/>
                    <a:pt x="2365" y="1146"/>
                    <a:pt x="2365" y="741"/>
                  </a:cubicBezTo>
                  <a:cubicBezTo>
                    <a:pt x="2365" y="336"/>
                    <a:pt x="2035" y="0"/>
                    <a:pt x="1630" y="0"/>
                  </a:cubicBezTo>
                  <a:cubicBezTo>
                    <a:pt x="1395" y="0"/>
                    <a:pt x="1187" y="122"/>
                    <a:pt x="1053" y="295"/>
                  </a:cubicBezTo>
                  <a:cubicBezTo>
                    <a:pt x="1053" y="735"/>
                    <a:pt x="1053" y="735"/>
                    <a:pt x="1053" y="735"/>
                  </a:cubicBezTo>
                  <a:cubicBezTo>
                    <a:pt x="1155" y="455"/>
                    <a:pt x="1340" y="232"/>
                    <a:pt x="1630" y="232"/>
                  </a:cubicBezTo>
                  <a:cubicBezTo>
                    <a:pt x="1909" y="232"/>
                    <a:pt x="2135" y="463"/>
                    <a:pt x="2134" y="741"/>
                  </a:cubicBezTo>
                  <a:cubicBezTo>
                    <a:pt x="2134" y="1020"/>
                    <a:pt x="1909" y="1246"/>
                    <a:pt x="1630" y="1245"/>
                  </a:cubicBezTo>
                  <a:cubicBezTo>
                    <a:pt x="1506" y="1244"/>
                    <a:pt x="1391" y="1199"/>
                    <a:pt x="1303" y="1125"/>
                  </a:cubicBezTo>
                  <a:cubicBezTo>
                    <a:pt x="1194" y="1040"/>
                    <a:pt x="1074" y="860"/>
                    <a:pt x="961" y="76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5" name="Freeform 35">
              <a:extLst>
                <a:ext uri="{FF2B5EF4-FFF2-40B4-BE49-F238E27FC236}">
                  <a16:creationId xmlns:a16="http://schemas.microsoft.com/office/drawing/2014/main" id="{C8AFA1DF-E2AD-431B-9A71-F99A68BFE07C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012114" y="401514"/>
              <a:ext cx="123825" cy="201551"/>
            </a:xfrm>
            <a:custGeom>
              <a:avLst/>
              <a:gdLst>
                <a:gd name="T0" fmla="*/ 0 w 1624"/>
                <a:gd name="T1" fmla="*/ 0 h 2651"/>
                <a:gd name="T2" fmla="*/ 1624 w 1624"/>
                <a:gd name="T3" fmla="*/ 0 h 2651"/>
                <a:gd name="T4" fmla="*/ 1624 w 1624"/>
                <a:gd name="T5" fmla="*/ 452 h 2651"/>
                <a:gd name="T6" fmla="*/ 1365 w 1624"/>
                <a:gd name="T7" fmla="*/ 273 h 2651"/>
                <a:gd name="T8" fmla="*/ 613 w 1624"/>
                <a:gd name="T9" fmla="*/ 273 h 2651"/>
                <a:gd name="T10" fmla="*/ 613 w 1624"/>
                <a:gd name="T11" fmla="*/ 1053 h 2651"/>
                <a:gd name="T12" fmla="*/ 1428 w 1624"/>
                <a:gd name="T13" fmla="*/ 1053 h 2651"/>
                <a:gd name="T14" fmla="*/ 1428 w 1624"/>
                <a:gd name="T15" fmla="*/ 1467 h 2651"/>
                <a:gd name="T16" fmla="*/ 1205 w 1624"/>
                <a:gd name="T17" fmla="*/ 1335 h 2651"/>
                <a:gd name="T18" fmla="*/ 613 w 1624"/>
                <a:gd name="T19" fmla="*/ 1335 h 2651"/>
                <a:gd name="T20" fmla="*/ 613 w 1624"/>
                <a:gd name="T21" fmla="*/ 2401 h 2651"/>
                <a:gd name="T22" fmla="*/ 784 w 1624"/>
                <a:gd name="T23" fmla="*/ 2651 h 2651"/>
                <a:gd name="T24" fmla="*/ 11 w 1624"/>
                <a:gd name="T25" fmla="*/ 2651 h 2651"/>
                <a:gd name="T26" fmla="*/ 173 w 1624"/>
                <a:gd name="T27" fmla="*/ 2401 h 2651"/>
                <a:gd name="T28" fmla="*/ 173 w 1624"/>
                <a:gd name="T29" fmla="*/ 278 h 2651"/>
                <a:gd name="T30" fmla="*/ 0 w 1624"/>
                <a:gd name="T31" fmla="*/ 0 h 2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624" h="2651">
                  <a:moveTo>
                    <a:pt x="0" y="0"/>
                  </a:moveTo>
                  <a:cubicBezTo>
                    <a:pt x="1624" y="0"/>
                    <a:pt x="1624" y="0"/>
                    <a:pt x="1624" y="0"/>
                  </a:cubicBezTo>
                  <a:cubicBezTo>
                    <a:pt x="1624" y="452"/>
                    <a:pt x="1624" y="452"/>
                    <a:pt x="1624" y="452"/>
                  </a:cubicBezTo>
                  <a:cubicBezTo>
                    <a:pt x="1624" y="452"/>
                    <a:pt x="1540" y="274"/>
                    <a:pt x="1365" y="273"/>
                  </a:cubicBezTo>
                  <a:cubicBezTo>
                    <a:pt x="613" y="273"/>
                    <a:pt x="613" y="273"/>
                    <a:pt x="613" y="273"/>
                  </a:cubicBezTo>
                  <a:cubicBezTo>
                    <a:pt x="613" y="1053"/>
                    <a:pt x="613" y="1053"/>
                    <a:pt x="613" y="1053"/>
                  </a:cubicBezTo>
                  <a:cubicBezTo>
                    <a:pt x="1428" y="1053"/>
                    <a:pt x="1428" y="1053"/>
                    <a:pt x="1428" y="1053"/>
                  </a:cubicBezTo>
                  <a:cubicBezTo>
                    <a:pt x="1428" y="1467"/>
                    <a:pt x="1428" y="1467"/>
                    <a:pt x="1428" y="1467"/>
                  </a:cubicBezTo>
                  <a:cubicBezTo>
                    <a:pt x="1428" y="1467"/>
                    <a:pt x="1402" y="1335"/>
                    <a:pt x="1205" y="1335"/>
                  </a:cubicBezTo>
                  <a:cubicBezTo>
                    <a:pt x="613" y="1335"/>
                    <a:pt x="613" y="1335"/>
                    <a:pt x="613" y="1335"/>
                  </a:cubicBezTo>
                  <a:cubicBezTo>
                    <a:pt x="613" y="2401"/>
                    <a:pt x="613" y="2401"/>
                    <a:pt x="613" y="2401"/>
                  </a:cubicBezTo>
                  <a:cubicBezTo>
                    <a:pt x="613" y="2558"/>
                    <a:pt x="784" y="2651"/>
                    <a:pt x="784" y="2651"/>
                  </a:cubicBezTo>
                  <a:cubicBezTo>
                    <a:pt x="11" y="2651"/>
                    <a:pt x="11" y="2651"/>
                    <a:pt x="11" y="2651"/>
                  </a:cubicBezTo>
                  <a:cubicBezTo>
                    <a:pt x="11" y="2651"/>
                    <a:pt x="173" y="2569"/>
                    <a:pt x="173" y="2401"/>
                  </a:cubicBezTo>
                  <a:cubicBezTo>
                    <a:pt x="173" y="278"/>
                    <a:pt x="173" y="278"/>
                    <a:pt x="173" y="278"/>
                  </a:cubicBezTo>
                  <a:cubicBezTo>
                    <a:pt x="173" y="9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6" name="Freeform 36">
              <a:extLst>
                <a:ext uri="{FF2B5EF4-FFF2-40B4-BE49-F238E27FC236}">
                  <a16:creationId xmlns:a16="http://schemas.microsoft.com/office/drawing/2014/main" id="{DCCF753C-FF99-4C0C-94D0-F2FE9DC1EC9C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305801" y="401514"/>
              <a:ext cx="80962" cy="282488"/>
            </a:xfrm>
            <a:custGeom>
              <a:avLst/>
              <a:gdLst>
                <a:gd name="T0" fmla="*/ 246 w 1072"/>
                <a:gd name="T1" fmla="*/ 0 h 3696"/>
                <a:gd name="T2" fmla="*/ 1072 w 1072"/>
                <a:gd name="T3" fmla="*/ 0 h 3696"/>
                <a:gd name="T4" fmla="*/ 887 w 1072"/>
                <a:gd name="T5" fmla="*/ 230 h 3696"/>
                <a:gd name="T6" fmla="*/ 887 w 1072"/>
                <a:gd name="T7" fmla="*/ 2717 h 3696"/>
                <a:gd name="T8" fmla="*/ 0 w 1072"/>
                <a:gd name="T9" fmla="*/ 3693 h 3696"/>
                <a:gd name="T10" fmla="*/ 423 w 1072"/>
                <a:gd name="T11" fmla="*/ 2717 h 3696"/>
                <a:gd name="T12" fmla="*/ 423 w 1072"/>
                <a:gd name="T13" fmla="*/ 230 h 3696"/>
                <a:gd name="T14" fmla="*/ 246 w 1072"/>
                <a:gd name="T15" fmla="*/ 0 h 36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72" h="3696">
                  <a:moveTo>
                    <a:pt x="246" y="0"/>
                  </a:moveTo>
                  <a:cubicBezTo>
                    <a:pt x="1072" y="0"/>
                    <a:pt x="1072" y="0"/>
                    <a:pt x="1072" y="0"/>
                  </a:cubicBezTo>
                  <a:cubicBezTo>
                    <a:pt x="1072" y="0"/>
                    <a:pt x="887" y="87"/>
                    <a:pt x="887" y="230"/>
                  </a:cubicBezTo>
                  <a:cubicBezTo>
                    <a:pt x="887" y="2717"/>
                    <a:pt x="887" y="2717"/>
                    <a:pt x="887" y="2717"/>
                  </a:cubicBezTo>
                  <a:cubicBezTo>
                    <a:pt x="887" y="3558"/>
                    <a:pt x="44" y="3696"/>
                    <a:pt x="0" y="3693"/>
                  </a:cubicBezTo>
                  <a:cubicBezTo>
                    <a:pt x="72" y="3647"/>
                    <a:pt x="422" y="3349"/>
                    <a:pt x="423" y="2717"/>
                  </a:cubicBezTo>
                  <a:cubicBezTo>
                    <a:pt x="423" y="230"/>
                    <a:pt x="423" y="230"/>
                    <a:pt x="423" y="230"/>
                  </a:cubicBezTo>
                  <a:cubicBezTo>
                    <a:pt x="424" y="96"/>
                    <a:pt x="246" y="0"/>
                    <a:pt x="24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7" name="Freeform 37">
              <a:extLst>
                <a:ext uri="{FF2B5EF4-FFF2-40B4-BE49-F238E27FC236}">
                  <a16:creationId xmlns:a16="http://schemas.microsoft.com/office/drawing/2014/main" id="{BB8A9FF0-74AF-4BF0-B63E-8CF3120C967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396289" y="401514"/>
              <a:ext cx="63500" cy="201551"/>
            </a:xfrm>
            <a:custGeom>
              <a:avLst/>
              <a:gdLst>
                <a:gd name="T0" fmla="*/ 0 w 828"/>
                <a:gd name="T1" fmla="*/ 0 h 2653"/>
                <a:gd name="T2" fmla="*/ 828 w 828"/>
                <a:gd name="T3" fmla="*/ 0 h 2653"/>
                <a:gd name="T4" fmla="*/ 645 w 828"/>
                <a:gd name="T5" fmla="*/ 235 h 2653"/>
                <a:gd name="T6" fmla="*/ 645 w 828"/>
                <a:gd name="T7" fmla="*/ 2401 h 2653"/>
                <a:gd name="T8" fmla="*/ 828 w 828"/>
                <a:gd name="T9" fmla="*/ 2653 h 2653"/>
                <a:gd name="T10" fmla="*/ 0 w 828"/>
                <a:gd name="T11" fmla="*/ 2653 h 2653"/>
                <a:gd name="T12" fmla="*/ 184 w 828"/>
                <a:gd name="T13" fmla="*/ 2401 h 2653"/>
                <a:gd name="T14" fmla="*/ 184 w 828"/>
                <a:gd name="T15" fmla="*/ 235 h 2653"/>
                <a:gd name="T16" fmla="*/ 0 w 828"/>
                <a:gd name="T17" fmla="*/ 0 h 26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28" h="2653">
                  <a:moveTo>
                    <a:pt x="0" y="0"/>
                  </a:moveTo>
                  <a:cubicBezTo>
                    <a:pt x="828" y="0"/>
                    <a:pt x="828" y="0"/>
                    <a:pt x="828" y="0"/>
                  </a:cubicBezTo>
                  <a:cubicBezTo>
                    <a:pt x="828" y="0"/>
                    <a:pt x="645" y="89"/>
                    <a:pt x="645" y="235"/>
                  </a:cubicBezTo>
                  <a:cubicBezTo>
                    <a:pt x="645" y="2401"/>
                    <a:pt x="645" y="2401"/>
                    <a:pt x="645" y="2401"/>
                  </a:cubicBezTo>
                  <a:cubicBezTo>
                    <a:pt x="645" y="2556"/>
                    <a:pt x="828" y="2653"/>
                    <a:pt x="828" y="2653"/>
                  </a:cubicBezTo>
                  <a:cubicBezTo>
                    <a:pt x="0" y="2653"/>
                    <a:pt x="0" y="2653"/>
                    <a:pt x="0" y="2653"/>
                  </a:cubicBezTo>
                  <a:cubicBezTo>
                    <a:pt x="0" y="2653"/>
                    <a:pt x="184" y="2557"/>
                    <a:pt x="184" y="2401"/>
                  </a:cubicBezTo>
                  <a:cubicBezTo>
                    <a:pt x="184" y="235"/>
                    <a:pt x="184" y="235"/>
                    <a:pt x="184" y="235"/>
                  </a:cubicBezTo>
                  <a:cubicBezTo>
                    <a:pt x="184" y="8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8" name="Freeform 38">
              <a:extLst>
                <a:ext uri="{FF2B5EF4-FFF2-40B4-BE49-F238E27FC236}">
                  <a16:creationId xmlns:a16="http://schemas.microsoft.com/office/drawing/2014/main" id="{3EFD3576-7BB3-4739-A24F-50250CAEBEE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459789" y="401514"/>
              <a:ext cx="150812" cy="201551"/>
            </a:xfrm>
            <a:custGeom>
              <a:avLst/>
              <a:gdLst>
                <a:gd name="T0" fmla="*/ 161 w 1984"/>
                <a:gd name="T1" fmla="*/ 0 h 2651"/>
                <a:gd name="T2" fmla="*/ 1984 w 1984"/>
                <a:gd name="T3" fmla="*/ 0 h 2651"/>
                <a:gd name="T4" fmla="*/ 1829 w 1984"/>
                <a:gd name="T5" fmla="*/ 482 h 2651"/>
                <a:gd name="T6" fmla="*/ 1607 w 1984"/>
                <a:gd name="T7" fmla="*/ 279 h 2651"/>
                <a:gd name="T8" fmla="*/ 1229 w 1984"/>
                <a:gd name="T9" fmla="*/ 279 h 2651"/>
                <a:gd name="T10" fmla="*/ 1229 w 1984"/>
                <a:gd name="T11" fmla="*/ 2401 h 2651"/>
                <a:gd name="T12" fmla="*/ 1407 w 1984"/>
                <a:gd name="T13" fmla="*/ 2651 h 2651"/>
                <a:gd name="T14" fmla="*/ 595 w 1984"/>
                <a:gd name="T15" fmla="*/ 2651 h 2651"/>
                <a:gd name="T16" fmla="*/ 771 w 1984"/>
                <a:gd name="T17" fmla="*/ 2401 h 2651"/>
                <a:gd name="T18" fmla="*/ 771 w 1984"/>
                <a:gd name="T19" fmla="*/ 279 h 2651"/>
                <a:gd name="T20" fmla="*/ 315 w 1984"/>
                <a:gd name="T21" fmla="*/ 279 h 2651"/>
                <a:gd name="T22" fmla="*/ 0 w 1984"/>
                <a:gd name="T23" fmla="*/ 522 h 2651"/>
                <a:gd name="T24" fmla="*/ 161 w 1984"/>
                <a:gd name="T25" fmla="*/ 0 h 2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84" h="2651">
                  <a:moveTo>
                    <a:pt x="161" y="0"/>
                  </a:moveTo>
                  <a:cubicBezTo>
                    <a:pt x="1984" y="0"/>
                    <a:pt x="1984" y="0"/>
                    <a:pt x="1984" y="0"/>
                  </a:cubicBezTo>
                  <a:cubicBezTo>
                    <a:pt x="1829" y="482"/>
                    <a:pt x="1829" y="482"/>
                    <a:pt x="1829" y="482"/>
                  </a:cubicBezTo>
                  <a:cubicBezTo>
                    <a:pt x="1829" y="482"/>
                    <a:pt x="1783" y="279"/>
                    <a:pt x="1607" y="279"/>
                  </a:cubicBezTo>
                  <a:cubicBezTo>
                    <a:pt x="1229" y="279"/>
                    <a:pt x="1229" y="279"/>
                    <a:pt x="1229" y="279"/>
                  </a:cubicBezTo>
                  <a:cubicBezTo>
                    <a:pt x="1229" y="2401"/>
                    <a:pt x="1229" y="2401"/>
                    <a:pt x="1229" y="2401"/>
                  </a:cubicBezTo>
                  <a:cubicBezTo>
                    <a:pt x="1229" y="2535"/>
                    <a:pt x="1407" y="2651"/>
                    <a:pt x="1407" y="2651"/>
                  </a:cubicBezTo>
                  <a:cubicBezTo>
                    <a:pt x="595" y="2651"/>
                    <a:pt x="595" y="2651"/>
                    <a:pt x="595" y="2651"/>
                  </a:cubicBezTo>
                  <a:cubicBezTo>
                    <a:pt x="595" y="2651"/>
                    <a:pt x="771" y="2547"/>
                    <a:pt x="771" y="2401"/>
                  </a:cubicBezTo>
                  <a:cubicBezTo>
                    <a:pt x="771" y="279"/>
                    <a:pt x="771" y="279"/>
                    <a:pt x="771" y="279"/>
                  </a:cubicBezTo>
                  <a:cubicBezTo>
                    <a:pt x="315" y="279"/>
                    <a:pt x="315" y="279"/>
                    <a:pt x="315" y="279"/>
                  </a:cubicBezTo>
                  <a:cubicBezTo>
                    <a:pt x="185" y="280"/>
                    <a:pt x="0" y="522"/>
                    <a:pt x="0" y="522"/>
                  </a:cubicBezTo>
                  <a:lnTo>
                    <a:pt x="16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9" name="Freeform 39">
              <a:extLst>
                <a:ext uri="{FF2B5EF4-FFF2-40B4-BE49-F238E27FC236}">
                  <a16:creationId xmlns:a16="http://schemas.microsoft.com/office/drawing/2014/main" id="{FC6758ED-3FB6-42D3-9F56-BDE1752E62A0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734426" y="401514"/>
              <a:ext cx="169862" cy="204725"/>
            </a:xfrm>
            <a:custGeom>
              <a:avLst/>
              <a:gdLst>
                <a:gd name="T0" fmla="*/ 1420 w 2219"/>
                <a:gd name="T1" fmla="*/ 0 h 2693"/>
                <a:gd name="T2" fmla="*/ 2219 w 2219"/>
                <a:gd name="T3" fmla="*/ 0 h 2693"/>
                <a:gd name="T4" fmla="*/ 2048 w 2219"/>
                <a:gd name="T5" fmla="*/ 234 h 2693"/>
                <a:gd name="T6" fmla="*/ 2048 w 2219"/>
                <a:gd name="T7" fmla="*/ 1840 h 2693"/>
                <a:gd name="T8" fmla="*/ 1131 w 2219"/>
                <a:gd name="T9" fmla="*/ 2693 h 2693"/>
                <a:gd name="T10" fmla="*/ 176 w 2219"/>
                <a:gd name="T11" fmla="*/ 1840 h 2693"/>
                <a:gd name="T12" fmla="*/ 176 w 2219"/>
                <a:gd name="T13" fmla="*/ 234 h 2693"/>
                <a:gd name="T14" fmla="*/ 0 w 2219"/>
                <a:gd name="T15" fmla="*/ 0 h 2693"/>
                <a:gd name="T16" fmla="*/ 821 w 2219"/>
                <a:gd name="T17" fmla="*/ 0 h 2693"/>
                <a:gd name="T18" fmla="*/ 638 w 2219"/>
                <a:gd name="T19" fmla="*/ 234 h 2693"/>
                <a:gd name="T20" fmla="*/ 638 w 2219"/>
                <a:gd name="T21" fmla="*/ 1840 h 2693"/>
                <a:gd name="T22" fmla="*/ 1131 w 2219"/>
                <a:gd name="T23" fmla="*/ 2406 h 2693"/>
                <a:gd name="T24" fmla="*/ 1601 w 2219"/>
                <a:gd name="T25" fmla="*/ 1840 h 2693"/>
                <a:gd name="T26" fmla="*/ 1601 w 2219"/>
                <a:gd name="T27" fmla="*/ 234 h 2693"/>
                <a:gd name="T28" fmla="*/ 1420 w 2219"/>
                <a:gd name="T29" fmla="*/ 0 h 26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219" h="2693">
                  <a:moveTo>
                    <a:pt x="1420" y="0"/>
                  </a:moveTo>
                  <a:cubicBezTo>
                    <a:pt x="2219" y="0"/>
                    <a:pt x="2219" y="0"/>
                    <a:pt x="2219" y="0"/>
                  </a:cubicBezTo>
                  <a:cubicBezTo>
                    <a:pt x="2219" y="0"/>
                    <a:pt x="2048" y="91"/>
                    <a:pt x="2048" y="234"/>
                  </a:cubicBezTo>
                  <a:cubicBezTo>
                    <a:pt x="2048" y="1840"/>
                    <a:pt x="2048" y="1840"/>
                    <a:pt x="2048" y="1840"/>
                  </a:cubicBezTo>
                  <a:cubicBezTo>
                    <a:pt x="2047" y="2492"/>
                    <a:pt x="1506" y="2693"/>
                    <a:pt x="1131" y="2693"/>
                  </a:cubicBezTo>
                  <a:cubicBezTo>
                    <a:pt x="759" y="2693"/>
                    <a:pt x="175" y="2490"/>
                    <a:pt x="176" y="1840"/>
                  </a:cubicBezTo>
                  <a:cubicBezTo>
                    <a:pt x="176" y="234"/>
                    <a:pt x="176" y="234"/>
                    <a:pt x="176" y="234"/>
                  </a:cubicBezTo>
                  <a:cubicBezTo>
                    <a:pt x="176" y="91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8" y="88"/>
                    <a:pt x="638" y="234"/>
                  </a:cubicBezTo>
                  <a:cubicBezTo>
                    <a:pt x="638" y="1840"/>
                    <a:pt x="638" y="1840"/>
                    <a:pt x="638" y="1840"/>
                  </a:cubicBezTo>
                  <a:cubicBezTo>
                    <a:pt x="638" y="2182"/>
                    <a:pt x="865" y="2406"/>
                    <a:pt x="1131" y="2406"/>
                  </a:cubicBezTo>
                  <a:cubicBezTo>
                    <a:pt x="1397" y="2406"/>
                    <a:pt x="1600" y="2173"/>
                    <a:pt x="1601" y="1840"/>
                  </a:cubicBezTo>
                  <a:cubicBezTo>
                    <a:pt x="1601" y="234"/>
                    <a:pt x="1601" y="234"/>
                    <a:pt x="1601" y="234"/>
                  </a:cubicBezTo>
                  <a:cubicBezTo>
                    <a:pt x="1601" y="91"/>
                    <a:pt x="1420" y="0"/>
                    <a:pt x="142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30" name="Freeform 40">
              <a:extLst>
                <a:ext uri="{FF2B5EF4-FFF2-40B4-BE49-F238E27FC236}">
                  <a16:creationId xmlns:a16="http://schemas.microsoft.com/office/drawing/2014/main" id="{1A0FF2C9-FB26-4EE6-9744-A33823AB18C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142289" y="401514"/>
              <a:ext cx="169862" cy="206312"/>
            </a:xfrm>
            <a:custGeom>
              <a:avLst/>
              <a:gdLst>
                <a:gd name="T0" fmla="*/ 1427 w 2240"/>
                <a:gd name="T1" fmla="*/ 0 h 2700"/>
                <a:gd name="T2" fmla="*/ 2240 w 2240"/>
                <a:gd name="T3" fmla="*/ 0 h 2700"/>
                <a:gd name="T4" fmla="*/ 2068 w 2240"/>
                <a:gd name="T5" fmla="*/ 237 h 2700"/>
                <a:gd name="T6" fmla="*/ 2067 w 2240"/>
                <a:gd name="T7" fmla="*/ 1838 h 2700"/>
                <a:gd name="T8" fmla="*/ 1122 w 2240"/>
                <a:gd name="T9" fmla="*/ 2700 h 2700"/>
                <a:gd name="T10" fmla="*/ 166 w 2240"/>
                <a:gd name="T11" fmla="*/ 1838 h 2700"/>
                <a:gd name="T12" fmla="*/ 166 w 2240"/>
                <a:gd name="T13" fmla="*/ 237 h 2700"/>
                <a:gd name="T14" fmla="*/ 0 w 2240"/>
                <a:gd name="T15" fmla="*/ 0 h 2700"/>
                <a:gd name="T16" fmla="*/ 821 w 2240"/>
                <a:gd name="T17" fmla="*/ 0 h 2700"/>
                <a:gd name="T18" fmla="*/ 631 w 2240"/>
                <a:gd name="T19" fmla="*/ 237 h 2700"/>
                <a:gd name="T20" fmla="*/ 630 w 2240"/>
                <a:gd name="T21" fmla="*/ 1838 h 2700"/>
                <a:gd name="T22" fmla="*/ 1122 w 2240"/>
                <a:gd name="T23" fmla="*/ 2413 h 2700"/>
                <a:gd name="T24" fmla="*/ 1602 w 2240"/>
                <a:gd name="T25" fmla="*/ 1838 h 2700"/>
                <a:gd name="T26" fmla="*/ 1603 w 2240"/>
                <a:gd name="T27" fmla="*/ 237 h 2700"/>
                <a:gd name="T28" fmla="*/ 1427 w 2240"/>
                <a:gd name="T29" fmla="*/ 0 h 27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240" h="2700">
                  <a:moveTo>
                    <a:pt x="1427" y="0"/>
                  </a:moveTo>
                  <a:cubicBezTo>
                    <a:pt x="2240" y="0"/>
                    <a:pt x="2240" y="0"/>
                    <a:pt x="2240" y="0"/>
                  </a:cubicBezTo>
                  <a:cubicBezTo>
                    <a:pt x="2240" y="0"/>
                    <a:pt x="2068" y="95"/>
                    <a:pt x="2068" y="237"/>
                  </a:cubicBezTo>
                  <a:cubicBezTo>
                    <a:pt x="2068" y="238"/>
                    <a:pt x="2067" y="1838"/>
                    <a:pt x="2067" y="1838"/>
                  </a:cubicBezTo>
                  <a:cubicBezTo>
                    <a:pt x="2067" y="2494"/>
                    <a:pt x="1501" y="2700"/>
                    <a:pt x="1122" y="2700"/>
                  </a:cubicBezTo>
                  <a:cubicBezTo>
                    <a:pt x="750" y="2700"/>
                    <a:pt x="166" y="2491"/>
                    <a:pt x="166" y="1838"/>
                  </a:cubicBezTo>
                  <a:cubicBezTo>
                    <a:pt x="166" y="237"/>
                    <a:pt x="166" y="237"/>
                    <a:pt x="166" y="237"/>
                  </a:cubicBezTo>
                  <a:cubicBezTo>
                    <a:pt x="166" y="94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1" y="94"/>
                    <a:pt x="631" y="237"/>
                  </a:cubicBezTo>
                  <a:cubicBezTo>
                    <a:pt x="630" y="1838"/>
                    <a:pt x="630" y="1838"/>
                    <a:pt x="630" y="1838"/>
                  </a:cubicBezTo>
                  <a:cubicBezTo>
                    <a:pt x="630" y="2178"/>
                    <a:pt x="856" y="2412"/>
                    <a:pt x="1122" y="2413"/>
                  </a:cubicBezTo>
                  <a:cubicBezTo>
                    <a:pt x="1388" y="2414"/>
                    <a:pt x="1602" y="2174"/>
                    <a:pt x="1602" y="1838"/>
                  </a:cubicBezTo>
                  <a:cubicBezTo>
                    <a:pt x="1603" y="237"/>
                    <a:pt x="1603" y="237"/>
                    <a:pt x="1603" y="237"/>
                  </a:cubicBezTo>
                  <a:cubicBezTo>
                    <a:pt x="1603" y="94"/>
                    <a:pt x="1427" y="0"/>
                    <a:pt x="142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31" name="Freeform 41">
              <a:extLst>
                <a:ext uri="{FF2B5EF4-FFF2-40B4-BE49-F238E27FC236}">
                  <a16:creationId xmlns:a16="http://schemas.microsoft.com/office/drawing/2014/main" id="{3652132C-1D36-46D8-B40D-EFABBC1421B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604251" y="396753"/>
              <a:ext cx="130175" cy="211073"/>
            </a:xfrm>
            <a:custGeom>
              <a:avLst/>
              <a:gdLst>
                <a:gd name="T0" fmla="*/ 1467 w 1707"/>
                <a:gd name="T1" fmla="*/ 479 h 2755"/>
                <a:gd name="T2" fmla="*/ 1019 w 1707"/>
                <a:gd name="T3" fmla="*/ 276 h 2755"/>
                <a:gd name="T4" fmla="*/ 504 w 1707"/>
                <a:gd name="T5" fmla="*/ 677 h 2755"/>
                <a:gd name="T6" fmla="*/ 995 w 1707"/>
                <a:gd name="T7" fmla="*/ 1174 h 2755"/>
                <a:gd name="T8" fmla="*/ 1705 w 1707"/>
                <a:gd name="T9" fmla="*/ 1974 h 2755"/>
                <a:gd name="T10" fmla="*/ 651 w 1707"/>
                <a:gd name="T11" fmla="*/ 2755 h 2755"/>
                <a:gd name="T12" fmla="*/ 155 w 1707"/>
                <a:gd name="T13" fmla="*/ 2686 h 2755"/>
                <a:gd name="T14" fmla="*/ 0 w 1707"/>
                <a:gd name="T15" fmla="*/ 2177 h 2755"/>
                <a:gd name="T16" fmla="*/ 658 w 1707"/>
                <a:gd name="T17" fmla="*/ 2466 h 2755"/>
                <a:gd name="T18" fmla="*/ 1252 w 1707"/>
                <a:gd name="T19" fmla="*/ 2030 h 2755"/>
                <a:gd name="T20" fmla="*/ 46 w 1707"/>
                <a:gd name="T21" fmla="*/ 731 h 2755"/>
                <a:gd name="T22" fmla="*/ 973 w 1707"/>
                <a:gd name="T23" fmla="*/ 0 h 2755"/>
                <a:gd name="T24" fmla="*/ 1467 w 1707"/>
                <a:gd name="T25" fmla="*/ 69 h 2755"/>
                <a:gd name="T26" fmla="*/ 1467 w 1707"/>
                <a:gd name="T27" fmla="*/ 479 h 2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07" h="2755">
                  <a:moveTo>
                    <a:pt x="1467" y="479"/>
                  </a:moveTo>
                  <a:cubicBezTo>
                    <a:pt x="1467" y="479"/>
                    <a:pt x="1352" y="277"/>
                    <a:pt x="1019" y="276"/>
                  </a:cubicBezTo>
                  <a:cubicBezTo>
                    <a:pt x="686" y="275"/>
                    <a:pt x="505" y="450"/>
                    <a:pt x="504" y="677"/>
                  </a:cubicBezTo>
                  <a:cubicBezTo>
                    <a:pt x="503" y="934"/>
                    <a:pt x="696" y="1031"/>
                    <a:pt x="995" y="1174"/>
                  </a:cubicBezTo>
                  <a:cubicBezTo>
                    <a:pt x="1279" y="1311"/>
                    <a:pt x="1707" y="1499"/>
                    <a:pt x="1705" y="1974"/>
                  </a:cubicBezTo>
                  <a:cubicBezTo>
                    <a:pt x="1704" y="2399"/>
                    <a:pt x="1327" y="2755"/>
                    <a:pt x="651" y="2755"/>
                  </a:cubicBezTo>
                  <a:cubicBezTo>
                    <a:pt x="442" y="2754"/>
                    <a:pt x="155" y="2686"/>
                    <a:pt x="155" y="2686"/>
                  </a:cubicBezTo>
                  <a:cubicBezTo>
                    <a:pt x="0" y="2177"/>
                    <a:pt x="0" y="2177"/>
                    <a:pt x="0" y="2177"/>
                  </a:cubicBezTo>
                  <a:cubicBezTo>
                    <a:pt x="143" y="2316"/>
                    <a:pt x="397" y="2466"/>
                    <a:pt x="658" y="2466"/>
                  </a:cubicBezTo>
                  <a:cubicBezTo>
                    <a:pt x="929" y="2466"/>
                    <a:pt x="1252" y="2298"/>
                    <a:pt x="1252" y="2030"/>
                  </a:cubicBezTo>
                  <a:cubicBezTo>
                    <a:pt x="1252" y="1512"/>
                    <a:pt x="46" y="1598"/>
                    <a:pt x="46" y="731"/>
                  </a:cubicBezTo>
                  <a:cubicBezTo>
                    <a:pt x="46" y="433"/>
                    <a:pt x="254" y="0"/>
                    <a:pt x="973" y="0"/>
                  </a:cubicBezTo>
                  <a:cubicBezTo>
                    <a:pt x="1207" y="0"/>
                    <a:pt x="1467" y="69"/>
                    <a:pt x="1467" y="69"/>
                  </a:cubicBezTo>
                  <a:lnTo>
                    <a:pt x="1467" y="4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</p:grp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kumimoji="1" lang="en-US" altLang="ja-JP"/>
              <a:t>© 2021 Fujitsu Limited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781008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pter_Red_Symbolm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一生に一度はサーキットを走ろう～サーキット初心者のススメ～">
            <a:extLst>
              <a:ext uri="{FF2B5EF4-FFF2-40B4-BE49-F238E27FC236}">
                <a16:creationId xmlns:a16="http://schemas.microsoft.com/office/drawing/2014/main" id="{14916997-ACD2-4F38-B335-90CE94866D37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47" b="3043"/>
          <a:stretch/>
        </p:blipFill>
        <p:spPr bwMode="auto">
          <a:xfrm>
            <a:off x="1" y="1"/>
            <a:ext cx="9141191" cy="5137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フッター プレースホルダー 3"/>
          <p:cNvSpPr>
            <a:spLocks noGrp="1"/>
          </p:cNvSpPr>
          <p:nvPr>
            <p:ph type="ftr" sz="quarter" idx="10"/>
          </p:nvPr>
        </p:nvSpPr>
        <p:spPr>
          <a:xfrm>
            <a:off x="4932363" y="4935604"/>
            <a:ext cx="3960812" cy="201551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ja-JP"/>
              <a:t>Copyright 2021 FUJITSU LIMITED</a:t>
            </a:r>
            <a:endParaRPr lang="de-DE" altLang="ja-JP"/>
          </a:p>
        </p:txBody>
      </p:sp>
      <p:pic>
        <p:nvPicPr>
          <p:cNvPr id="26" name="図 2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9" y="5654"/>
            <a:ext cx="3489075" cy="3783432"/>
          </a:xfrm>
          <a:prstGeom prst="rect">
            <a:avLst/>
          </a:prstGeom>
        </p:spPr>
      </p:pic>
      <p:sp>
        <p:nvSpPr>
          <p:cNvPr id="27" name="タイトル 1"/>
          <p:cNvSpPr>
            <a:spLocks noGrp="1"/>
          </p:cNvSpPr>
          <p:nvPr>
            <p:ph type="title" hasCustomPrompt="1"/>
          </p:nvPr>
        </p:nvSpPr>
        <p:spPr>
          <a:xfrm>
            <a:off x="467544" y="503208"/>
            <a:ext cx="2520282" cy="2428472"/>
          </a:xfrm>
        </p:spPr>
        <p:txBody>
          <a:bodyPr anchor="t"/>
          <a:lstStyle>
            <a:lvl1pPr algn="l"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 altLang="ja-JP"/>
              <a:t>Chapter Title</a:t>
            </a:r>
            <a:endParaRPr lang="ja-JP" altLang="en-US"/>
          </a:p>
        </p:txBody>
      </p:sp>
      <p:pic>
        <p:nvPicPr>
          <p:cNvPr id="29" name="図 2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7991" y="247968"/>
            <a:ext cx="1216206" cy="613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774504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pter_Red_Symbolm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フッター プレースホルダー 3"/>
          <p:cNvSpPr>
            <a:spLocks noGrp="1"/>
          </p:cNvSpPr>
          <p:nvPr>
            <p:ph type="ftr" sz="quarter" idx="10"/>
          </p:nvPr>
        </p:nvSpPr>
        <p:spPr>
          <a:xfrm>
            <a:off x="4932363" y="4935606"/>
            <a:ext cx="3960812" cy="201551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ja-JP"/>
              <a:t>Copyright 2021 FUJITSU LIMITED</a:t>
            </a:r>
            <a:endParaRPr lang="de-DE" altLang="ja-JP"/>
          </a:p>
        </p:txBody>
      </p:sp>
      <p:sp>
        <p:nvSpPr>
          <p:cNvPr id="16" name="AutoShape 11"/>
          <p:cNvSpPr>
            <a:spLocks noChangeAspect="1" noChangeArrowheads="1" noTextEdit="1"/>
          </p:cNvSpPr>
          <p:nvPr userDrawn="1"/>
        </p:nvSpPr>
        <p:spPr bwMode="gray">
          <a:xfrm>
            <a:off x="7607300" y="114266"/>
            <a:ext cx="1417638" cy="7919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ja-JP" altLang="en-US" sz="1600"/>
          </a:p>
        </p:txBody>
      </p:sp>
      <p:pic>
        <p:nvPicPr>
          <p:cNvPr id="26" name="図 2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0" y="5654"/>
            <a:ext cx="3489075" cy="3783432"/>
          </a:xfrm>
          <a:prstGeom prst="rect">
            <a:avLst/>
          </a:prstGeom>
        </p:spPr>
      </p:pic>
      <p:sp>
        <p:nvSpPr>
          <p:cNvPr id="27" name="タイトル 1"/>
          <p:cNvSpPr>
            <a:spLocks noGrp="1"/>
          </p:cNvSpPr>
          <p:nvPr>
            <p:ph type="title" hasCustomPrompt="1"/>
          </p:nvPr>
        </p:nvSpPr>
        <p:spPr>
          <a:xfrm>
            <a:off x="467544" y="503209"/>
            <a:ext cx="2520282" cy="2428472"/>
          </a:xfrm>
        </p:spPr>
        <p:txBody>
          <a:bodyPr anchor="t"/>
          <a:lstStyle>
            <a:lvl1pPr algn="l"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 altLang="ja-JP"/>
              <a:t>Chapter Title</a:t>
            </a:r>
            <a:endParaRPr lang="ja-JP" altLang="en-US"/>
          </a:p>
        </p:txBody>
      </p:sp>
      <p:sp>
        <p:nvSpPr>
          <p:cNvPr id="28" name="テキスト ボックス 27"/>
          <p:cNvSpPr txBox="1"/>
          <p:nvPr userDrawn="1"/>
        </p:nvSpPr>
        <p:spPr>
          <a:xfrm>
            <a:off x="3505919" y="2217916"/>
            <a:ext cx="5500224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809079" rtl="0" eaLnBrk="0" fontAlgn="ctr" latinLnBrk="0" hangingPunct="0">
              <a:lnSpc>
                <a:spcPct val="110000"/>
              </a:lnSpc>
              <a:spcBef>
                <a:spcPct val="20000"/>
              </a:spcBef>
              <a:spcAft>
                <a:spcPct val="10000"/>
              </a:spcAft>
              <a:buClr>
                <a:srgbClr val="A30B1A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ja-JP" altLang="en-US" sz="2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" panose="020B0404060202020204" pitchFamily="34" charset="0"/>
                <a:ea typeface="Meiryo UI" panose="020B0604030504040204" pitchFamily="50" charset="-128"/>
                <a:cs typeface="Meiryo UI" pitchFamily="50" charset="-128"/>
              </a:rPr>
              <a:t>（</a:t>
            </a:r>
            <a:r>
              <a:rPr kumimoji="1" lang="en-US" altLang="ja-JP" sz="2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" panose="020B0404060202020204" pitchFamily="34" charset="0"/>
                <a:ea typeface="Meiryo UI" panose="020B0604030504040204" pitchFamily="50" charset="-128"/>
                <a:cs typeface="Meiryo UI" pitchFamily="50" charset="-128"/>
              </a:rPr>
              <a:t> Insert background image on this slide master </a:t>
            </a:r>
            <a:r>
              <a:rPr kumimoji="1" lang="ja-JP" altLang="en-US" sz="2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" panose="020B0404060202020204" pitchFamily="34" charset="0"/>
                <a:ea typeface="Meiryo UI" panose="020B0604030504040204" pitchFamily="50" charset="-128"/>
                <a:cs typeface="Meiryo UI" pitchFamily="50" charset="-128"/>
              </a:rPr>
              <a:t>）</a:t>
            </a:r>
          </a:p>
          <a:p>
            <a:endParaRPr kumimoji="1" lang="ja-JP" altLang="en-US" sz="1600">
              <a:latin typeface="Fujitsu Sans" panose="020B0404060202020204" pitchFamily="34" charset="0"/>
              <a:ea typeface="Meiryo UI" panose="020B0604030504040204" pitchFamily="50" charset="-128"/>
            </a:endParaRPr>
          </a:p>
        </p:txBody>
      </p:sp>
      <p:pic>
        <p:nvPicPr>
          <p:cNvPr id="29" name="図 28"/>
          <p:cNvPicPr>
            <a:picLocks noChangeAspect="1"/>
          </p:cNvPicPr>
          <p:nvPr userDrawn="1"/>
        </p:nvPicPr>
        <p:blipFill>
          <a:blip r:embed="rId3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7991" y="247970"/>
            <a:ext cx="1216206" cy="613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744077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pter_Red_Symbolm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フッター プレースホルダー 3"/>
          <p:cNvSpPr>
            <a:spLocks noGrp="1"/>
          </p:cNvSpPr>
          <p:nvPr>
            <p:ph type="ftr" sz="quarter" idx="10"/>
          </p:nvPr>
        </p:nvSpPr>
        <p:spPr>
          <a:xfrm>
            <a:off x="4932363" y="4935605"/>
            <a:ext cx="3960812" cy="201551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ja-JP"/>
              <a:t>Copyright 2021 FUJITSU LIMITED</a:t>
            </a:r>
            <a:endParaRPr lang="de-DE" altLang="ja-JP"/>
          </a:p>
        </p:txBody>
      </p:sp>
      <p:sp>
        <p:nvSpPr>
          <p:cNvPr id="16" name="AutoShape 11"/>
          <p:cNvSpPr>
            <a:spLocks noChangeAspect="1" noChangeArrowheads="1" noTextEdit="1"/>
          </p:cNvSpPr>
          <p:nvPr userDrawn="1"/>
        </p:nvSpPr>
        <p:spPr bwMode="gray">
          <a:xfrm>
            <a:off x="7607300" y="114266"/>
            <a:ext cx="1417638" cy="7919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ja-JP" altLang="en-US" sz="1600"/>
          </a:p>
        </p:txBody>
      </p:sp>
      <p:pic>
        <p:nvPicPr>
          <p:cNvPr id="26" name="図 2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0" y="5654"/>
            <a:ext cx="3489075" cy="3783432"/>
          </a:xfrm>
          <a:prstGeom prst="rect">
            <a:avLst/>
          </a:prstGeom>
        </p:spPr>
      </p:pic>
      <p:sp>
        <p:nvSpPr>
          <p:cNvPr id="27" name="タイトル 1"/>
          <p:cNvSpPr>
            <a:spLocks noGrp="1"/>
          </p:cNvSpPr>
          <p:nvPr>
            <p:ph type="title" hasCustomPrompt="1"/>
          </p:nvPr>
        </p:nvSpPr>
        <p:spPr>
          <a:xfrm>
            <a:off x="467544" y="503209"/>
            <a:ext cx="2520282" cy="2428472"/>
          </a:xfrm>
        </p:spPr>
        <p:txBody>
          <a:bodyPr anchor="t"/>
          <a:lstStyle>
            <a:lvl1pPr algn="l"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 altLang="ja-JP"/>
              <a:t>Chapter Title</a:t>
            </a:r>
            <a:endParaRPr lang="ja-JP" altLang="en-US"/>
          </a:p>
        </p:txBody>
      </p:sp>
      <p:sp>
        <p:nvSpPr>
          <p:cNvPr id="28" name="テキスト ボックス 27"/>
          <p:cNvSpPr txBox="1"/>
          <p:nvPr userDrawn="1"/>
        </p:nvSpPr>
        <p:spPr>
          <a:xfrm>
            <a:off x="3505919" y="2217916"/>
            <a:ext cx="5500224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809099" rtl="0" eaLnBrk="0" fontAlgn="ctr" latinLnBrk="0" hangingPunct="0">
              <a:lnSpc>
                <a:spcPct val="110000"/>
              </a:lnSpc>
              <a:spcBef>
                <a:spcPct val="20000"/>
              </a:spcBef>
              <a:spcAft>
                <a:spcPct val="10000"/>
              </a:spcAft>
              <a:buClr>
                <a:srgbClr val="A30B1A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ja-JP" altLang="en-US" sz="2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" panose="020B0404060202020204" pitchFamily="34" charset="0"/>
                <a:ea typeface="Meiryo UI" panose="020B0604030504040204" pitchFamily="50" charset="-128"/>
                <a:cs typeface="Meiryo UI" pitchFamily="50" charset="-128"/>
              </a:rPr>
              <a:t>（</a:t>
            </a:r>
            <a:r>
              <a:rPr kumimoji="1" lang="en-US" altLang="ja-JP" sz="2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" panose="020B0404060202020204" pitchFamily="34" charset="0"/>
                <a:ea typeface="Meiryo UI" panose="020B0604030504040204" pitchFamily="50" charset="-128"/>
                <a:cs typeface="Meiryo UI" pitchFamily="50" charset="-128"/>
              </a:rPr>
              <a:t> Insert background image on this slide master </a:t>
            </a:r>
            <a:r>
              <a:rPr kumimoji="1" lang="ja-JP" altLang="en-US" sz="2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" panose="020B0404060202020204" pitchFamily="34" charset="0"/>
                <a:ea typeface="Meiryo UI" panose="020B0604030504040204" pitchFamily="50" charset="-128"/>
                <a:cs typeface="Meiryo UI" pitchFamily="50" charset="-128"/>
              </a:rPr>
              <a:t>）</a:t>
            </a:r>
          </a:p>
          <a:p>
            <a:endParaRPr kumimoji="1" lang="ja-JP" altLang="en-US" sz="1600">
              <a:latin typeface="Fujitsu Sans" panose="020B0404060202020204" pitchFamily="34" charset="0"/>
              <a:ea typeface="Meiryo UI" panose="020B0604030504040204" pitchFamily="50" charset="-128"/>
            </a:endParaRPr>
          </a:p>
        </p:txBody>
      </p:sp>
      <p:pic>
        <p:nvPicPr>
          <p:cNvPr id="29" name="図 28"/>
          <p:cNvPicPr>
            <a:picLocks noChangeAspect="1"/>
          </p:cNvPicPr>
          <p:nvPr userDrawn="1"/>
        </p:nvPicPr>
        <p:blipFill>
          <a:blip r:embed="rId3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7991" y="247969"/>
            <a:ext cx="1216206" cy="613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74294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hapter_Red_Symbolm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フッター プレースホルダー 3"/>
          <p:cNvSpPr>
            <a:spLocks noGrp="1"/>
          </p:cNvSpPr>
          <p:nvPr>
            <p:ph type="ftr" sz="quarter" idx="10"/>
          </p:nvPr>
        </p:nvSpPr>
        <p:spPr>
          <a:xfrm>
            <a:off x="4932363" y="4935604"/>
            <a:ext cx="3960812" cy="201551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ja-JP"/>
              <a:t>Copyright 2021 FUJITSU LIMITED</a:t>
            </a:r>
            <a:endParaRPr lang="de-DE" altLang="ja-JP"/>
          </a:p>
        </p:txBody>
      </p:sp>
      <p:sp>
        <p:nvSpPr>
          <p:cNvPr id="16" name="AutoShape 11"/>
          <p:cNvSpPr>
            <a:spLocks noChangeAspect="1" noChangeArrowheads="1" noTextEdit="1"/>
          </p:cNvSpPr>
          <p:nvPr userDrawn="1"/>
        </p:nvSpPr>
        <p:spPr bwMode="gray">
          <a:xfrm>
            <a:off x="7607300" y="114266"/>
            <a:ext cx="1417638" cy="7919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ja-JP" altLang="en-US" sz="1600"/>
          </a:p>
        </p:txBody>
      </p:sp>
      <p:pic>
        <p:nvPicPr>
          <p:cNvPr id="26" name="図 2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9" y="5654"/>
            <a:ext cx="3489075" cy="3783432"/>
          </a:xfrm>
          <a:prstGeom prst="rect">
            <a:avLst/>
          </a:prstGeom>
        </p:spPr>
      </p:pic>
      <p:sp>
        <p:nvSpPr>
          <p:cNvPr id="27" name="タイトル 1"/>
          <p:cNvSpPr>
            <a:spLocks noGrp="1"/>
          </p:cNvSpPr>
          <p:nvPr>
            <p:ph type="title" hasCustomPrompt="1"/>
          </p:nvPr>
        </p:nvSpPr>
        <p:spPr>
          <a:xfrm>
            <a:off x="467544" y="503208"/>
            <a:ext cx="2520282" cy="2428472"/>
          </a:xfrm>
        </p:spPr>
        <p:txBody>
          <a:bodyPr anchor="t"/>
          <a:lstStyle>
            <a:lvl1pPr algn="l"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 altLang="ja-JP"/>
              <a:t>Chapter Title</a:t>
            </a:r>
            <a:endParaRPr lang="ja-JP" altLang="en-US"/>
          </a:p>
        </p:txBody>
      </p:sp>
      <p:sp>
        <p:nvSpPr>
          <p:cNvPr id="28" name="テキスト ボックス 27"/>
          <p:cNvSpPr txBox="1"/>
          <p:nvPr userDrawn="1"/>
        </p:nvSpPr>
        <p:spPr>
          <a:xfrm>
            <a:off x="3505919" y="2217916"/>
            <a:ext cx="5500224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809119" rtl="0" eaLnBrk="0" fontAlgn="ctr" latinLnBrk="0" hangingPunct="0">
              <a:lnSpc>
                <a:spcPct val="110000"/>
              </a:lnSpc>
              <a:spcBef>
                <a:spcPct val="20000"/>
              </a:spcBef>
              <a:spcAft>
                <a:spcPct val="10000"/>
              </a:spcAft>
              <a:buClr>
                <a:srgbClr val="A30B1A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ja-JP" altLang="en-US" sz="2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" panose="020B0404060202020204" pitchFamily="34" charset="0"/>
                <a:ea typeface="Meiryo UI" panose="020B0604030504040204" pitchFamily="50" charset="-128"/>
                <a:cs typeface="Meiryo UI" pitchFamily="50" charset="-128"/>
              </a:rPr>
              <a:t>（</a:t>
            </a:r>
            <a:r>
              <a:rPr kumimoji="1" lang="en-US" altLang="ja-JP" sz="2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" panose="020B0404060202020204" pitchFamily="34" charset="0"/>
                <a:ea typeface="Meiryo UI" panose="020B0604030504040204" pitchFamily="50" charset="-128"/>
                <a:cs typeface="Meiryo UI" pitchFamily="50" charset="-128"/>
              </a:rPr>
              <a:t> Insert background image on this slide master </a:t>
            </a:r>
            <a:r>
              <a:rPr kumimoji="1" lang="ja-JP" altLang="en-US" sz="2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" panose="020B0404060202020204" pitchFamily="34" charset="0"/>
                <a:ea typeface="Meiryo UI" panose="020B0604030504040204" pitchFamily="50" charset="-128"/>
                <a:cs typeface="Meiryo UI" pitchFamily="50" charset="-128"/>
              </a:rPr>
              <a:t>）</a:t>
            </a:r>
          </a:p>
          <a:p>
            <a:endParaRPr kumimoji="1" lang="ja-JP" altLang="en-US" sz="1600">
              <a:latin typeface="Fujitsu Sans" panose="020B0404060202020204" pitchFamily="34" charset="0"/>
              <a:ea typeface="Meiryo UI" panose="020B0604030504040204" pitchFamily="50" charset="-128"/>
            </a:endParaRPr>
          </a:p>
        </p:txBody>
      </p:sp>
      <p:pic>
        <p:nvPicPr>
          <p:cNvPr id="29" name="図 28"/>
          <p:cNvPicPr>
            <a:picLocks noChangeAspect="1"/>
          </p:cNvPicPr>
          <p:nvPr userDrawn="1"/>
        </p:nvPicPr>
        <p:blipFill>
          <a:blip r:embed="rId3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7991" y="247968"/>
            <a:ext cx="1216206" cy="613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392782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フッター プレースホルダー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ja-JP"/>
              <a:t>Copyright 2021 FUJITSU LIMITED</a:t>
            </a:r>
            <a:endParaRPr lang="de-DE" altLang="ja-JP"/>
          </a:p>
        </p:txBody>
      </p:sp>
      <p:sp>
        <p:nvSpPr>
          <p:cNvPr id="14" name="スライド番号プレースホルダー 4"/>
          <p:cNvSpPr>
            <a:spLocks noGrp="1"/>
          </p:cNvSpPr>
          <p:nvPr>
            <p:ph type="sldNum" sz="quarter" idx="11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US" altLang="ja-JP" smtClean="0"/>
            </a:lvl1pPr>
          </a:lstStyle>
          <a:p>
            <a:pPr fontAlgn="base"/>
            <a:fld id="{0B5B02AC-72C7-48A8-B1FA-68CE81373FC9}" type="slidenum">
              <a:rPr lang="en-US" altLang="ja-JP" smtClean="0"/>
              <a:pPr fontAlgn="base"/>
              <a:t>‹#›</a:t>
            </a:fld>
            <a:endParaRPr lang="ja-JP" altLang="en-US"/>
          </a:p>
        </p:txBody>
      </p:sp>
      <p:sp>
        <p:nvSpPr>
          <p:cNvPr id="16" name="AutoShape 11"/>
          <p:cNvSpPr>
            <a:spLocks noChangeAspect="1" noChangeArrowheads="1" noTextEdit="1"/>
          </p:cNvSpPr>
          <p:nvPr userDrawn="1"/>
        </p:nvSpPr>
        <p:spPr bwMode="gray">
          <a:xfrm>
            <a:off x="7607300" y="114266"/>
            <a:ext cx="1417638" cy="7919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ja-JP" altLang="en-US" sz="1600"/>
          </a:p>
        </p:txBody>
      </p:sp>
      <p:sp>
        <p:nvSpPr>
          <p:cNvPr id="26" name="Rectangle 4"/>
          <p:cNvSpPr>
            <a:spLocks noGrp="1" noChangeArrowheads="1"/>
          </p:cNvSpPr>
          <p:nvPr>
            <p:ph type="title" hasCustomPrompt="1"/>
          </p:nvPr>
        </p:nvSpPr>
        <p:spPr bwMode="gray">
          <a:xfrm>
            <a:off x="252004" y="179946"/>
            <a:ext cx="7564437" cy="6252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1600">
                <a:latin typeface="游ゴシック" panose="020B0400000000000000" pitchFamily="50" charset="-128"/>
                <a:ea typeface="游ゴシック" panose="020B0400000000000000" pitchFamily="50" charset="-128"/>
              </a:defRPr>
            </a:lvl1pPr>
          </a:lstStyle>
          <a:p>
            <a:pPr lvl="0"/>
            <a:r>
              <a:rPr lang="ja-JP" altLang="en-US"/>
              <a:t>タイトルを入力</a:t>
            </a:r>
          </a:p>
        </p:txBody>
      </p:sp>
      <p:grpSp>
        <p:nvGrpSpPr>
          <p:cNvPr id="27" name="グループ化 26"/>
          <p:cNvGrpSpPr/>
          <p:nvPr userDrawn="1"/>
        </p:nvGrpSpPr>
        <p:grpSpPr>
          <a:xfrm>
            <a:off x="8010525" y="249163"/>
            <a:ext cx="892176" cy="434841"/>
            <a:chOff x="8010525" y="249238"/>
            <a:chExt cx="892176" cy="434975"/>
          </a:xfrm>
        </p:grpSpPr>
        <p:sp>
          <p:nvSpPr>
            <p:cNvPr id="28" name="Freeform 13"/>
            <p:cNvSpPr>
              <a:spLocks/>
            </p:cNvSpPr>
            <p:nvPr userDrawn="1"/>
          </p:nvSpPr>
          <p:spPr bwMode="gray">
            <a:xfrm>
              <a:off x="8305800" y="249238"/>
              <a:ext cx="179388" cy="139700"/>
            </a:xfrm>
            <a:custGeom>
              <a:avLst/>
              <a:gdLst>
                <a:gd name="T0" fmla="*/ 961 w 2365"/>
                <a:gd name="T1" fmla="*/ 764 h 1825"/>
                <a:gd name="T2" fmla="*/ 599 w 2365"/>
                <a:gd name="T3" fmla="*/ 642 h 1825"/>
                <a:gd name="T4" fmla="*/ 1 w 2365"/>
                <a:gd name="T5" fmla="*/ 1235 h 1825"/>
                <a:gd name="T6" fmla="*/ 599 w 2365"/>
                <a:gd name="T7" fmla="*/ 1825 h 1825"/>
                <a:gd name="T8" fmla="*/ 1053 w 2365"/>
                <a:gd name="T9" fmla="*/ 1619 h 1825"/>
                <a:gd name="T10" fmla="*/ 1053 w 2365"/>
                <a:gd name="T11" fmla="*/ 1293 h 1825"/>
                <a:gd name="T12" fmla="*/ 771 w 2365"/>
                <a:gd name="T13" fmla="*/ 1568 h 1825"/>
                <a:gd name="T14" fmla="*/ 599 w 2365"/>
                <a:gd name="T15" fmla="*/ 1604 h 1825"/>
                <a:gd name="T16" fmla="*/ 225 w 2365"/>
                <a:gd name="T17" fmla="*/ 1235 h 1825"/>
                <a:gd name="T18" fmla="*/ 599 w 2365"/>
                <a:gd name="T19" fmla="*/ 863 h 1825"/>
                <a:gd name="T20" fmla="*/ 861 w 2365"/>
                <a:gd name="T21" fmla="*/ 972 h 1825"/>
                <a:gd name="T22" fmla="*/ 1093 w 2365"/>
                <a:gd name="T23" fmla="*/ 1239 h 1825"/>
                <a:gd name="T24" fmla="*/ 1630 w 2365"/>
                <a:gd name="T25" fmla="*/ 1473 h 1825"/>
                <a:gd name="T26" fmla="*/ 2365 w 2365"/>
                <a:gd name="T27" fmla="*/ 741 h 1825"/>
                <a:gd name="T28" fmla="*/ 1630 w 2365"/>
                <a:gd name="T29" fmla="*/ 0 h 1825"/>
                <a:gd name="T30" fmla="*/ 1053 w 2365"/>
                <a:gd name="T31" fmla="*/ 295 h 1825"/>
                <a:gd name="T32" fmla="*/ 1053 w 2365"/>
                <a:gd name="T33" fmla="*/ 735 h 1825"/>
                <a:gd name="T34" fmla="*/ 1630 w 2365"/>
                <a:gd name="T35" fmla="*/ 232 h 1825"/>
                <a:gd name="T36" fmla="*/ 2134 w 2365"/>
                <a:gd name="T37" fmla="*/ 741 h 1825"/>
                <a:gd name="T38" fmla="*/ 1630 w 2365"/>
                <a:gd name="T39" fmla="*/ 1245 h 1825"/>
                <a:gd name="T40" fmla="*/ 1303 w 2365"/>
                <a:gd name="T41" fmla="*/ 1125 h 1825"/>
                <a:gd name="T42" fmla="*/ 961 w 2365"/>
                <a:gd name="T43" fmla="*/ 764 h 18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65" h="1825">
                  <a:moveTo>
                    <a:pt x="961" y="764"/>
                  </a:moveTo>
                  <a:cubicBezTo>
                    <a:pt x="875" y="688"/>
                    <a:pt x="736" y="643"/>
                    <a:pt x="599" y="642"/>
                  </a:cubicBezTo>
                  <a:cubicBezTo>
                    <a:pt x="270" y="641"/>
                    <a:pt x="2" y="900"/>
                    <a:pt x="1" y="1235"/>
                  </a:cubicBezTo>
                  <a:cubicBezTo>
                    <a:pt x="0" y="1563"/>
                    <a:pt x="270" y="1824"/>
                    <a:pt x="599" y="1825"/>
                  </a:cubicBezTo>
                  <a:cubicBezTo>
                    <a:pt x="783" y="1825"/>
                    <a:pt x="943" y="1751"/>
                    <a:pt x="1053" y="1619"/>
                  </a:cubicBezTo>
                  <a:cubicBezTo>
                    <a:pt x="1053" y="1293"/>
                    <a:pt x="1053" y="1293"/>
                    <a:pt x="1053" y="1293"/>
                  </a:cubicBezTo>
                  <a:cubicBezTo>
                    <a:pt x="994" y="1394"/>
                    <a:pt x="877" y="1524"/>
                    <a:pt x="771" y="1568"/>
                  </a:cubicBezTo>
                  <a:cubicBezTo>
                    <a:pt x="717" y="1590"/>
                    <a:pt x="662" y="1604"/>
                    <a:pt x="599" y="1604"/>
                  </a:cubicBezTo>
                  <a:cubicBezTo>
                    <a:pt x="394" y="1604"/>
                    <a:pt x="225" y="1445"/>
                    <a:pt x="225" y="1235"/>
                  </a:cubicBezTo>
                  <a:cubicBezTo>
                    <a:pt x="225" y="1041"/>
                    <a:pt x="380" y="862"/>
                    <a:pt x="599" y="863"/>
                  </a:cubicBezTo>
                  <a:cubicBezTo>
                    <a:pt x="701" y="863"/>
                    <a:pt x="793" y="905"/>
                    <a:pt x="861" y="972"/>
                  </a:cubicBezTo>
                  <a:cubicBezTo>
                    <a:pt x="931" y="1040"/>
                    <a:pt x="1041" y="1183"/>
                    <a:pt x="1093" y="1239"/>
                  </a:cubicBezTo>
                  <a:cubicBezTo>
                    <a:pt x="1227" y="1383"/>
                    <a:pt x="1419" y="1473"/>
                    <a:pt x="1630" y="1473"/>
                  </a:cubicBezTo>
                  <a:cubicBezTo>
                    <a:pt x="2036" y="1474"/>
                    <a:pt x="2365" y="1146"/>
                    <a:pt x="2365" y="741"/>
                  </a:cubicBezTo>
                  <a:cubicBezTo>
                    <a:pt x="2365" y="336"/>
                    <a:pt x="2035" y="0"/>
                    <a:pt x="1630" y="0"/>
                  </a:cubicBezTo>
                  <a:cubicBezTo>
                    <a:pt x="1395" y="0"/>
                    <a:pt x="1187" y="122"/>
                    <a:pt x="1053" y="295"/>
                  </a:cubicBezTo>
                  <a:cubicBezTo>
                    <a:pt x="1053" y="735"/>
                    <a:pt x="1053" y="735"/>
                    <a:pt x="1053" y="735"/>
                  </a:cubicBezTo>
                  <a:cubicBezTo>
                    <a:pt x="1155" y="455"/>
                    <a:pt x="1340" y="232"/>
                    <a:pt x="1630" y="232"/>
                  </a:cubicBezTo>
                  <a:cubicBezTo>
                    <a:pt x="1909" y="232"/>
                    <a:pt x="2135" y="463"/>
                    <a:pt x="2134" y="741"/>
                  </a:cubicBezTo>
                  <a:cubicBezTo>
                    <a:pt x="2134" y="1020"/>
                    <a:pt x="1909" y="1246"/>
                    <a:pt x="1630" y="1245"/>
                  </a:cubicBezTo>
                  <a:cubicBezTo>
                    <a:pt x="1506" y="1244"/>
                    <a:pt x="1391" y="1199"/>
                    <a:pt x="1303" y="1125"/>
                  </a:cubicBezTo>
                  <a:cubicBezTo>
                    <a:pt x="1194" y="1040"/>
                    <a:pt x="1074" y="860"/>
                    <a:pt x="961" y="764"/>
                  </a:cubicBezTo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 sz="1600"/>
            </a:p>
          </p:txBody>
        </p:sp>
        <p:sp>
          <p:nvSpPr>
            <p:cNvPr id="29" name="Freeform 14"/>
            <p:cNvSpPr>
              <a:spLocks/>
            </p:cNvSpPr>
            <p:nvPr userDrawn="1"/>
          </p:nvSpPr>
          <p:spPr bwMode="gray">
            <a:xfrm>
              <a:off x="8010525" y="401638"/>
              <a:ext cx="123825" cy="201613"/>
            </a:xfrm>
            <a:custGeom>
              <a:avLst/>
              <a:gdLst>
                <a:gd name="T0" fmla="*/ 0 w 1624"/>
                <a:gd name="T1" fmla="*/ 0 h 2651"/>
                <a:gd name="T2" fmla="*/ 1624 w 1624"/>
                <a:gd name="T3" fmla="*/ 0 h 2651"/>
                <a:gd name="T4" fmla="*/ 1624 w 1624"/>
                <a:gd name="T5" fmla="*/ 452 h 2651"/>
                <a:gd name="T6" fmla="*/ 1365 w 1624"/>
                <a:gd name="T7" fmla="*/ 273 h 2651"/>
                <a:gd name="T8" fmla="*/ 613 w 1624"/>
                <a:gd name="T9" fmla="*/ 273 h 2651"/>
                <a:gd name="T10" fmla="*/ 613 w 1624"/>
                <a:gd name="T11" fmla="*/ 1053 h 2651"/>
                <a:gd name="T12" fmla="*/ 1428 w 1624"/>
                <a:gd name="T13" fmla="*/ 1053 h 2651"/>
                <a:gd name="T14" fmla="*/ 1428 w 1624"/>
                <a:gd name="T15" fmla="*/ 1467 h 2651"/>
                <a:gd name="T16" fmla="*/ 1205 w 1624"/>
                <a:gd name="T17" fmla="*/ 1335 h 2651"/>
                <a:gd name="T18" fmla="*/ 613 w 1624"/>
                <a:gd name="T19" fmla="*/ 1335 h 2651"/>
                <a:gd name="T20" fmla="*/ 613 w 1624"/>
                <a:gd name="T21" fmla="*/ 2401 h 2651"/>
                <a:gd name="T22" fmla="*/ 784 w 1624"/>
                <a:gd name="T23" fmla="*/ 2651 h 2651"/>
                <a:gd name="T24" fmla="*/ 11 w 1624"/>
                <a:gd name="T25" fmla="*/ 2651 h 2651"/>
                <a:gd name="T26" fmla="*/ 173 w 1624"/>
                <a:gd name="T27" fmla="*/ 2401 h 2651"/>
                <a:gd name="T28" fmla="*/ 173 w 1624"/>
                <a:gd name="T29" fmla="*/ 278 h 2651"/>
                <a:gd name="T30" fmla="*/ 0 w 1624"/>
                <a:gd name="T31" fmla="*/ 0 h 2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624" h="2651">
                  <a:moveTo>
                    <a:pt x="0" y="0"/>
                  </a:moveTo>
                  <a:cubicBezTo>
                    <a:pt x="1624" y="0"/>
                    <a:pt x="1624" y="0"/>
                    <a:pt x="1624" y="0"/>
                  </a:cubicBezTo>
                  <a:cubicBezTo>
                    <a:pt x="1624" y="452"/>
                    <a:pt x="1624" y="452"/>
                    <a:pt x="1624" y="452"/>
                  </a:cubicBezTo>
                  <a:cubicBezTo>
                    <a:pt x="1624" y="452"/>
                    <a:pt x="1540" y="274"/>
                    <a:pt x="1365" y="273"/>
                  </a:cubicBezTo>
                  <a:cubicBezTo>
                    <a:pt x="613" y="273"/>
                    <a:pt x="613" y="273"/>
                    <a:pt x="613" y="273"/>
                  </a:cubicBezTo>
                  <a:cubicBezTo>
                    <a:pt x="613" y="1053"/>
                    <a:pt x="613" y="1053"/>
                    <a:pt x="613" y="1053"/>
                  </a:cubicBezTo>
                  <a:cubicBezTo>
                    <a:pt x="1428" y="1053"/>
                    <a:pt x="1428" y="1053"/>
                    <a:pt x="1428" y="1053"/>
                  </a:cubicBezTo>
                  <a:cubicBezTo>
                    <a:pt x="1428" y="1467"/>
                    <a:pt x="1428" y="1467"/>
                    <a:pt x="1428" y="1467"/>
                  </a:cubicBezTo>
                  <a:cubicBezTo>
                    <a:pt x="1428" y="1467"/>
                    <a:pt x="1402" y="1335"/>
                    <a:pt x="1205" y="1335"/>
                  </a:cubicBezTo>
                  <a:cubicBezTo>
                    <a:pt x="613" y="1335"/>
                    <a:pt x="613" y="1335"/>
                    <a:pt x="613" y="1335"/>
                  </a:cubicBezTo>
                  <a:cubicBezTo>
                    <a:pt x="613" y="2401"/>
                    <a:pt x="613" y="2401"/>
                    <a:pt x="613" y="2401"/>
                  </a:cubicBezTo>
                  <a:cubicBezTo>
                    <a:pt x="613" y="2558"/>
                    <a:pt x="784" y="2651"/>
                    <a:pt x="784" y="2651"/>
                  </a:cubicBezTo>
                  <a:cubicBezTo>
                    <a:pt x="11" y="2651"/>
                    <a:pt x="11" y="2651"/>
                    <a:pt x="11" y="2651"/>
                  </a:cubicBezTo>
                  <a:cubicBezTo>
                    <a:pt x="11" y="2651"/>
                    <a:pt x="173" y="2569"/>
                    <a:pt x="173" y="2401"/>
                  </a:cubicBezTo>
                  <a:cubicBezTo>
                    <a:pt x="173" y="278"/>
                    <a:pt x="173" y="278"/>
                    <a:pt x="173" y="278"/>
                  </a:cubicBezTo>
                  <a:cubicBezTo>
                    <a:pt x="173" y="9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 sz="1600"/>
            </a:p>
          </p:txBody>
        </p:sp>
        <p:sp>
          <p:nvSpPr>
            <p:cNvPr id="30" name="Freeform 15"/>
            <p:cNvSpPr>
              <a:spLocks/>
            </p:cNvSpPr>
            <p:nvPr userDrawn="1"/>
          </p:nvSpPr>
          <p:spPr bwMode="gray">
            <a:xfrm>
              <a:off x="8304213" y="401638"/>
              <a:ext cx="80963" cy="282575"/>
            </a:xfrm>
            <a:custGeom>
              <a:avLst/>
              <a:gdLst>
                <a:gd name="T0" fmla="*/ 246 w 1072"/>
                <a:gd name="T1" fmla="*/ 0 h 3696"/>
                <a:gd name="T2" fmla="*/ 1072 w 1072"/>
                <a:gd name="T3" fmla="*/ 0 h 3696"/>
                <a:gd name="T4" fmla="*/ 887 w 1072"/>
                <a:gd name="T5" fmla="*/ 230 h 3696"/>
                <a:gd name="T6" fmla="*/ 887 w 1072"/>
                <a:gd name="T7" fmla="*/ 2717 h 3696"/>
                <a:gd name="T8" fmla="*/ 0 w 1072"/>
                <a:gd name="T9" fmla="*/ 3693 h 3696"/>
                <a:gd name="T10" fmla="*/ 423 w 1072"/>
                <a:gd name="T11" fmla="*/ 2717 h 3696"/>
                <a:gd name="T12" fmla="*/ 423 w 1072"/>
                <a:gd name="T13" fmla="*/ 230 h 3696"/>
                <a:gd name="T14" fmla="*/ 246 w 1072"/>
                <a:gd name="T15" fmla="*/ 0 h 36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72" h="3696">
                  <a:moveTo>
                    <a:pt x="246" y="0"/>
                  </a:moveTo>
                  <a:cubicBezTo>
                    <a:pt x="1072" y="0"/>
                    <a:pt x="1072" y="0"/>
                    <a:pt x="1072" y="0"/>
                  </a:cubicBezTo>
                  <a:cubicBezTo>
                    <a:pt x="1072" y="0"/>
                    <a:pt x="887" y="87"/>
                    <a:pt x="887" y="230"/>
                  </a:cubicBezTo>
                  <a:cubicBezTo>
                    <a:pt x="887" y="2717"/>
                    <a:pt x="887" y="2717"/>
                    <a:pt x="887" y="2717"/>
                  </a:cubicBezTo>
                  <a:cubicBezTo>
                    <a:pt x="887" y="3558"/>
                    <a:pt x="44" y="3696"/>
                    <a:pt x="0" y="3693"/>
                  </a:cubicBezTo>
                  <a:cubicBezTo>
                    <a:pt x="72" y="3647"/>
                    <a:pt x="422" y="3349"/>
                    <a:pt x="423" y="2717"/>
                  </a:cubicBezTo>
                  <a:cubicBezTo>
                    <a:pt x="423" y="230"/>
                    <a:pt x="423" y="230"/>
                    <a:pt x="423" y="230"/>
                  </a:cubicBezTo>
                  <a:cubicBezTo>
                    <a:pt x="424" y="96"/>
                    <a:pt x="246" y="0"/>
                    <a:pt x="246" y="0"/>
                  </a:cubicBez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 sz="1600"/>
            </a:p>
          </p:txBody>
        </p:sp>
        <p:sp>
          <p:nvSpPr>
            <p:cNvPr id="31" name="Freeform 16"/>
            <p:cNvSpPr>
              <a:spLocks/>
            </p:cNvSpPr>
            <p:nvPr userDrawn="1"/>
          </p:nvSpPr>
          <p:spPr bwMode="gray">
            <a:xfrm>
              <a:off x="8394700" y="401638"/>
              <a:ext cx="63500" cy="201613"/>
            </a:xfrm>
            <a:custGeom>
              <a:avLst/>
              <a:gdLst>
                <a:gd name="T0" fmla="*/ 0 w 828"/>
                <a:gd name="T1" fmla="*/ 0 h 2653"/>
                <a:gd name="T2" fmla="*/ 828 w 828"/>
                <a:gd name="T3" fmla="*/ 0 h 2653"/>
                <a:gd name="T4" fmla="*/ 645 w 828"/>
                <a:gd name="T5" fmla="*/ 235 h 2653"/>
                <a:gd name="T6" fmla="*/ 645 w 828"/>
                <a:gd name="T7" fmla="*/ 2401 h 2653"/>
                <a:gd name="T8" fmla="*/ 828 w 828"/>
                <a:gd name="T9" fmla="*/ 2653 h 2653"/>
                <a:gd name="T10" fmla="*/ 0 w 828"/>
                <a:gd name="T11" fmla="*/ 2653 h 2653"/>
                <a:gd name="T12" fmla="*/ 184 w 828"/>
                <a:gd name="T13" fmla="*/ 2401 h 2653"/>
                <a:gd name="T14" fmla="*/ 184 w 828"/>
                <a:gd name="T15" fmla="*/ 235 h 2653"/>
                <a:gd name="T16" fmla="*/ 0 w 828"/>
                <a:gd name="T17" fmla="*/ 0 h 26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28" h="2653">
                  <a:moveTo>
                    <a:pt x="0" y="0"/>
                  </a:moveTo>
                  <a:cubicBezTo>
                    <a:pt x="828" y="0"/>
                    <a:pt x="828" y="0"/>
                    <a:pt x="828" y="0"/>
                  </a:cubicBezTo>
                  <a:cubicBezTo>
                    <a:pt x="828" y="0"/>
                    <a:pt x="645" y="89"/>
                    <a:pt x="645" y="235"/>
                  </a:cubicBezTo>
                  <a:cubicBezTo>
                    <a:pt x="645" y="2401"/>
                    <a:pt x="645" y="2401"/>
                    <a:pt x="645" y="2401"/>
                  </a:cubicBezTo>
                  <a:cubicBezTo>
                    <a:pt x="645" y="2556"/>
                    <a:pt x="828" y="2653"/>
                    <a:pt x="828" y="2653"/>
                  </a:cubicBezTo>
                  <a:cubicBezTo>
                    <a:pt x="0" y="2653"/>
                    <a:pt x="0" y="2653"/>
                    <a:pt x="0" y="2653"/>
                  </a:cubicBezTo>
                  <a:cubicBezTo>
                    <a:pt x="0" y="2653"/>
                    <a:pt x="184" y="2557"/>
                    <a:pt x="184" y="2401"/>
                  </a:cubicBezTo>
                  <a:cubicBezTo>
                    <a:pt x="184" y="235"/>
                    <a:pt x="184" y="235"/>
                    <a:pt x="184" y="235"/>
                  </a:cubicBezTo>
                  <a:cubicBezTo>
                    <a:pt x="184" y="8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 sz="1600"/>
            </a:p>
          </p:txBody>
        </p:sp>
        <p:sp>
          <p:nvSpPr>
            <p:cNvPr id="32" name="Freeform 17"/>
            <p:cNvSpPr>
              <a:spLocks/>
            </p:cNvSpPr>
            <p:nvPr userDrawn="1"/>
          </p:nvSpPr>
          <p:spPr bwMode="gray">
            <a:xfrm>
              <a:off x="8458200" y="401638"/>
              <a:ext cx="150813" cy="201613"/>
            </a:xfrm>
            <a:custGeom>
              <a:avLst/>
              <a:gdLst>
                <a:gd name="T0" fmla="*/ 161 w 1984"/>
                <a:gd name="T1" fmla="*/ 0 h 2651"/>
                <a:gd name="T2" fmla="*/ 1984 w 1984"/>
                <a:gd name="T3" fmla="*/ 0 h 2651"/>
                <a:gd name="T4" fmla="*/ 1829 w 1984"/>
                <a:gd name="T5" fmla="*/ 482 h 2651"/>
                <a:gd name="T6" fmla="*/ 1607 w 1984"/>
                <a:gd name="T7" fmla="*/ 279 h 2651"/>
                <a:gd name="T8" fmla="*/ 1229 w 1984"/>
                <a:gd name="T9" fmla="*/ 279 h 2651"/>
                <a:gd name="T10" fmla="*/ 1229 w 1984"/>
                <a:gd name="T11" fmla="*/ 2401 h 2651"/>
                <a:gd name="T12" fmla="*/ 1407 w 1984"/>
                <a:gd name="T13" fmla="*/ 2651 h 2651"/>
                <a:gd name="T14" fmla="*/ 595 w 1984"/>
                <a:gd name="T15" fmla="*/ 2651 h 2651"/>
                <a:gd name="T16" fmla="*/ 771 w 1984"/>
                <a:gd name="T17" fmla="*/ 2401 h 2651"/>
                <a:gd name="T18" fmla="*/ 771 w 1984"/>
                <a:gd name="T19" fmla="*/ 279 h 2651"/>
                <a:gd name="T20" fmla="*/ 315 w 1984"/>
                <a:gd name="T21" fmla="*/ 279 h 2651"/>
                <a:gd name="T22" fmla="*/ 0 w 1984"/>
                <a:gd name="T23" fmla="*/ 522 h 2651"/>
                <a:gd name="T24" fmla="*/ 161 w 1984"/>
                <a:gd name="T25" fmla="*/ 0 h 2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84" h="2651">
                  <a:moveTo>
                    <a:pt x="161" y="0"/>
                  </a:moveTo>
                  <a:cubicBezTo>
                    <a:pt x="1984" y="0"/>
                    <a:pt x="1984" y="0"/>
                    <a:pt x="1984" y="0"/>
                  </a:cubicBezTo>
                  <a:cubicBezTo>
                    <a:pt x="1829" y="482"/>
                    <a:pt x="1829" y="482"/>
                    <a:pt x="1829" y="482"/>
                  </a:cubicBezTo>
                  <a:cubicBezTo>
                    <a:pt x="1829" y="482"/>
                    <a:pt x="1783" y="279"/>
                    <a:pt x="1607" y="279"/>
                  </a:cubicBezTo>
                  <a:cubicBezTo>
                    <a:pt x="1229" y="279"/>
                    <a:pt x="1229" y="279"/>
                    <a:pt x="1229" y="279"/>
                  </a:cubicBezTo>
                  <a:cubicBezTo>
                    <a:pt x="1229" y="2401"/>
                    <a:pt x="1229" y="2401"/>
                    <a:pt x="1229" y="2401"/>
                  </a:cubicBezTo>
                  <a:cubicBezTo>
                    <a:pt x="1229" y="2535"/>
                    <a:pt x="1407" y="2651"/>
                    <a:pt x="1407" y="2651"/>
                  </a:cubicBezTo>
                  <a:cubicBezTo>
                    <a:pt x="595" y="2651"/>
                    <a:pt x="595" y="2651"/>
                    <a:pt x="595" y="2651"/>
                  </a:cubicBezTo>
                  <a:cubicBezTo>
                    <a:pt x="595" y="2651"/>
                    <a:pt x="771" y="2547"/>
                    <a:pt x="771" y="2401"/>
                  </a:cubicBezTo>
                  <a:cubicBezTo>
                    <a:pt x="771" y="279"/>
                    <a:pt x="771" y="279"/>
                    <a:pt x="771" y="279"/>
                  </a:cubicBezTo>
                  <a:cubicBezTo>
                    <a:pt x="315" y="279"/>
                    <a:pt x="315" y="279"/>
                    <a:pt x="315" y="279"/>
                  </a:cubicBezTo>
                  <a:cubicBezTo>
                    <a:pt x="185" y="280"/>
                    <a:pt x="0" y="522"/>
                    <a:pt x="0" y="522"/>
                  </a:cubicBezTo>
                  <a:lnTo>
                    <a:pt x="161" y="0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 sz="1600"/>
            </a:p>
          </p:txBody>
        </p:sp>
        <p:sp>
          <p:nvSpPr>
            <p:cNvPr id="33" name="Freeform 18"/>
            <p:cNvSpPr>
              <a:spLocks/>
            </p:cNvSpPr>
            <p:nvPr userDrawn="1"/>
          </p:nvSpPr>
          <p:spPr bwMode="gray">
            <a:xfrm>
              <a:off x="8732838" y="401638"/>
              <a:ext cx="169863" cy="204788"/>
            </a:xfrm>
            <a:custGeom>
              <a:avLst/>
              <a:gdLst>
                <a:gd name="T0" fmla="*/ 1420 w 2219"/>
                <a:gd name="T1" fmla="*/ 0 h 2693"/>
                <a:gd name="T2" fmla="*/ 2219 w 2219"/>
                <a:gd name="T3" fmla="*/ 0 h 2693"/>
                <a:gd name="T4" fmla="*/ 2048 w 2219"/>
                <a:gd name="T5" fmla="*/ 234 h 2693"/>
                <a:gd name="T6" fmla="*/ 2048 w 2219"/>
                <a:gd name="T7" fmla="*/ 1840 h 2693"/>
                <a:gd name="T8" fmla="*/ 1131 w 2219"/>
                <a:gd name="T9" fmla="*/ 2693 h 2693"/>
                <a:gd name="T10" fmla="*/ 176 w 2219"/>
                <a:gd name="T11" fmla="*/ 1840 h 2693"/>
                <a:gd name="T12" fmla="*/ 176 w 2219"/>
                <a:gd name="T13" fmla="*/ 234 h 2693"/>
                <a:gd name="T14" fmla="*/ 0 w 2219"/>
                <a:gd name="T15" fmla="*/ 0 h 2693"/>
                <a:gd name="T16" fmla="*/ 821 w 2219"/>
                <a:gd name="T17" fmla="*/ 0 h 2693"/>
                <a:gd name="T18" fmla="*/ 638 w 2219"/>
                <a:gd name="T19" fmla="*/ 234 h 2693"/>
                <a:gd name="T20" fmla="*/ 638 w 2219"/>
                <a:gd name="T21" fmla="*/ 1840 h 2693"/>
                <a:gd name="T22" fmla="*/ 1131 w 2219"/>
                <a:gd name="T23" fmla="*/ 2406 h 2693"/>
                <a:gd name="T24" fmla="*/ 1601 w 2219"/>
                <a:gd name="T25" fmla="*/ 1840 h 2693"/>
                <a:gd name="T26" fmla="*/ 1601 w 2219"/>
                <a:gd name="T27" fmla="*/ 234 h 2693"/>
                <a:gd name="T28" fmla="*/ 1420 w 2219"/>
                <a:gd name="T29" fmla="*/ 0 h 26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219" h="2693">
                  <a:moveTo>
                    <a:pt x="1420" y="0"/>
                  </a:moveTo>
                  <a:cubicBezTo>
                    <a:pt x="2219" y="0"/>
                    <a:pt x="2219" y="0"/>
                    <a:pt x="2219" y="0"/>
                  </a:cubicBezTo>
                  <a:cubicBezTo>
                    <a:pt x="2219" y="0"/>
                    <a:pt x="2048" y="91"/>
                    <a:pt x="2048" y="234"/>
                  </a:cubicBezTo>
                  <a:cubicBezTo>
                    <a:pt x="2048" y="1840"/>
                    <a:pt x="2048" y="1840"/>
                    <a:pt x="2048" y="1840"/>
                  </a:cubicBezTo>
                  <a:cubicBezTo>
                    <a:pt x="2047" y="2492"/>
                    <a:pt x="1506" y="2693"/>
                    <a:pt x="1131" y="2693"/>
                  </a:cubicBezTo>
                  <a:cubicBezTo>
                    <a:pt x="759" y="2693"/>
                    <a:pt x="175" y="2490"/>
                    <a:pt x="176" y="1840"/>
                  </a:cubicBezTo>
                  <a:cubicBezTo>
                    <a:pt x="176" y="234"/>
                    <a:pt x="176" y="234"/>
                    <a:pt x="176" y="234"/>
                  </a:cubicBezTo>
                  <a:cubicBezTo>
                    <a:pt x="176" y="91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8" y="88"/>
                    <a:pt x="638" y="234"/>
                  </a:cubicBezTo>
                  <a:cubicBezTo>
                    <a:pt x="638" y="1840"/>
                    <a:pt x="638" y="1840"/>
                    <a:pt x="638" y="1840"/>
                  </a:cubicBezTo>
                  <a:cubicBezTo>
                    <a:pt x="638" y="2182"/>
                    <a:pt x="865" y="2406"/>
                    <a:pt x="1131" y="2406"/>
                  </a:cubicBezTo>
                  <a:cubicBezTo>
                    <a:pt x="1397" y="2406"/>
                    <a:pt x="1600" y="2173"/>
                    <a:pt x="1601" y="1840"/>
                  </a:cubicBezTo>
                  <a:cubicBezTo>
                    <a:pt x="1601" y="234"/>
                    <a:pt x="1601" y="234"/>
                    <a:pt x="1601" y="234"/>
                  </a:cubicBezTo>
                  <a:cubicBezTo>
                    <a:pt x="1601" y="91"/>
                    <a:pt x="1420" y="0"/>
                    <a:pt x="1420" y="0"/>
                  </a:cubicBez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 sz="1600"/>
            </a:p>
          </p:txBody>
        </p:sp>
        <p:sp>
          <p:nvSpPr>
            <p:cNvPr id="34" name="Freeform 19"/>
            <p:cNvSpPr>
              <a:spLocks/>
            </p:cNvSpPr>
            <p:nvPr userDrawn="1"/>
          </p:nvSpPr>
          <p:spPr bwMode="gray">
            <a:xfrm>
              <a:off x="8140700" y="401638"/>
              <a:ext cx="169863" cy="206375"/>
            </a:xfrm>
            <a:custGeom>
              <a:avLst/>
              <a:gdLst>
                <a:gd name="T0" fmla="*/ 1427 w 2240"/>
                <a:gd name="T1" fmla="*/ 0 h 2700"/>
                <a:gd name="T2" fmla="*/ 2240 w 2240"/>
                <a:gd name="T3" fmla="*/ 0 h 2700"/>
                <a:gd name="T4" fmla="*/ 2068 w 2240"/>
                <a:gd name="T5" fmla="*/ 237 h 2700"/>
                <a:gd name="T6" fmla="*/ 2067 w 2240"/>
                <a:gd name="T7" fmla="*/ 1838 h 2700"/>
                <a:gd name="T8" fmla="*/ 1122 w 2240"/>
                <a:gd name="T9" fmla="*/ 2700 h 2700"/>
                <a:gd name="T10" fmla="*/ 166 w 2240"/>
                <a:gd name="T11" fmla="*/ 1838 h 2700"/>
                <a:gd name="T12" fmla="*/ 166 w 2240"/>
                <a:gd name="T13" fmla="*/ 237 h 2700"/>
                <a:gd name="T14" fmla="*/ 0 w 2240"/>
                <a:gd name="T15" fmla="*/ 0 h 2700"/>
                <a:gd name="T16" fmla="*/ 821 w 2240"/>
                <a:gd name="T17" fmla="*/ 0 h 2700"/>
                <a:gd name="T18" fmla="*/ 631 w 2240"/>
                <a:gd name="T19" fmla="*/ 237 h 2700"/>
                <a:gd name="T20" fmla="*/ 630 w 2240"/>
                <a:gd name="T21" fmla="*/ 1838 h 2700"/>
                <a:gd name="T22" fmla="*/ 1122 w 2240"/>
                <a:gd name="T23" fmla="*/ 2413 h 2700"/>
                <a:gd name="T24" fmla="*/ 1602 w 2240"/>
                <a:gd name="T25" fmla="*/ 1838 h 2700"/>
                <a:gd name="T26" fmla="*/ 1603 w 2240"/>
                <a:gd name="T27" fmla="*/ 237 h 2700"/>
                <a:gd name="T28" fmla="*/ 1427 w 2240"/>
                <a:gd name="T29" fmla="*/ 0 h 27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240" h="2700">
                  <a:moveTo>
                    <a:pt x="1427" y="0"/>
                  </a:moveTo>
                  <a:cubicBezTo>
                    <a:pt x="2240" y="0"/>
                    <a:pt x="2240" y="0"/>
                    <a:pt x="2240" y="0"/>
                  </a:cubicBezTo>
                  <a:cubicBezTo>
                    <a:pt x="2240" y="0"/>
                    <a:pt x="2068" y="95"/>
                    <a:pt x="2068" y="237"/>
                  </a:cubicBezTo>
                  <a:cubicBezTo>
                    <a:pt x="2068" y="238"/>
                    <a:pt x="2067" y="1838"/>
                    <a:pt x="2067" y="1838"/>
                  </a:cubicBezTo>
                  <a:cubicBezTo>
                    <a:pt x="2067" y="2494"/>
                    <a:pt x="1501" y="2700"/>
                    <a:pt x="1122" y="2700"/>
                  </a:cubicBezTo>
                  <a:cubicBezTo>
                    <a:pt x="750" y="2700"/>
                    <a:pt x="166" y="2491"/>
                    <a:pt x="166" y="1838"/>
                  </a:cubicBezTo>
                  <a:cubicBezTo>
                    <a:pt x="166" y="237"/>
                    <a:pt x="166" y="237"/>
                    <a:pt x="166" y="237"/>
                  </a:cubicBezTo>
                  <a:cubicBezTo>
                    <a:pt x="166" y="94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1" y="94"/>
                    <a:pt x="631" y="237"/>
                  </a:cubicBezTo>
                  <a:cubicBezTo>
                    <a:pt x="630" y="1838"/>
                    <a:pt x="630" y="1838"/>
                    <a:pt x="630" y="1838"/>
                  </a:cubicBezTo>
                  <a:cubicBezTo>
                    <a:pt x="630" y="2178"/>
                    <a:pt x="856" y="2412"/>
                    <a:pt x="1122" y="2413"/>
                  </a:cubicBezTo>
                  <a:cubicBezTo>
                    <a:pt x="1388" y="2414"/>
                    <a:pt x="1602" y="2174"/>
                    <a:pt x="1602" y="1838"/>
                  </a:cubicBezTo>
                  <a:cubicBezTo>
                    <a:pt x="1603" y="237"/>
                    <a:pt x="1603" y="237"/>
                    <a:pt x="1603" y="237"/>
                  </a:cubicBezTo>
                  <a:cubicBezTo>
                    <a:pt x="1603" y="94"/>
                    <a:pt x="1427" y="0"/>
                    <a:pt x="1427" y="0"/>
                  </a:cubicBez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 sz="1600"/>
            </a:p>
          </p:txBody>
        </p:sp>
        <p:sp>
          <p:nvSpPr>
            <p:cNvPr id="35" name="Freeform 20"/>
            <p:cNvSpPr>
              <a:spLocks/>
            </p:cNvSpPr>
            <p:nvPr userDrawn="1"/>
          </p:nvSpPr>
          <p:spPr bwMode="gray">
            <a:xfrm>
              <a:off x="8602663" y="396875"/>
              <a:ext cx="130175" cy="211138"/>
            </a:xfrm>
            <a:custGeom>
              <a:avLst/>
              <a:gdLst>
                <a:gd name="T0" fmla="*/ 1467 w 1707"/>
                <a:gd name="T1" fmla="*/ 479 h 2755"/>
                <a:gd name="T2" fmla="*/ 1019 w 1707"/>
                <a:gd name="T3" fmla="*/ 276 h 2755"/>
                <a:gd name="T4" fmla="*/ 504 w 1707"/>
                <a:gd name="T5" fmla="*/ 677 h 2755"/>
                <a:gd name="T6" fmla="*/ 995 w 1707"/>
                <a:gd name="T7" fmla="*/ 1174 h 2755"/>
                <a:gd name="T8" fmla="*/ 1705 w 1707"/>
                <a:gd name="T9" fmla="*/ 1974 h 2755"/>
                <a:gd name="T10" fmla="*/ 651 w 1707"/>
                <a:gd name="T11" fmla="*/ 2755 h 2755"/>
                <a:gd name="T12" fmla="*/ 155 w 1707"/>
                <a:gd name="T13" fmla="*/ 2686 h 2755"/>
                <a:gd name="T14" fmla="*/ 0 w 1707"/>
                <a:gd name="T15" fmla="*/ 2177 h 2755"/>
                <a:gd name="T16" fmla="*/ 658 w 1707"/>
                <a:gd name="T17" fmla="*/ 2466 h 2755"/>
                <a:gd name="T18" fmla="*/ 1252 w 1707"/>
                <a:gd name="T19" fmla="*/ 2030 h 2755"/>
                <a:gd name="T20" fmla="*/ 46 w 1707"/>
                <a:gd name="T21" fmla="*/ 731 h 2755"/>
                <a:gd name="T22" fmla="*/ 973 w 1707"/>
                <a:gd name="T23" fmla="*/ 0 h 2755"/>
                <a:gd name="T24" fmla="*/ 1467 w 1707"/>
                <a:gd name="T25" fmla="*/ 69 h 2755"/>
                <a:gd name="T26" fmla="*/ 1467 w 1707"/>
                <a:gd name="T27" fmla="*/ 479 h 2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07" h="2755">
                  <a:moveTo>
                    <a:pt x="1467" y="479"/>
                  </a:moveTo>
                  <a:cubicBezTo>
                    <a:pt x="1467" y="479"/>
                    <a:pt x="1352" y="277"/>
                    <a:pt x="1019" y="276"/>
                  </a:cubicBezTo>
                  <a:cubicBezTo>
                    <a:pt x="686" y="275"/>
                    <a:pt x="505" y="450"/>
                    <a:pt x="504" y="677"/>
                  </a:cubicBezTo>
                  <a:cubicBezTo>
                    <a:pt x="503" y="934"/>
                    <a:pt x="696" y="1031"/>
                    <a:pt x="995" y="1174"/>
                  </a:cubicBezTo>
                  <a:cubicBezTo>
                    <a:pt x="1279" y="1311"/>
                    <a:pt x="1707" y="1499"/>
                    <a:pt x="1705" y="1974"/>
                  </a:cubicBezTo>
                  <a:cubicBezTo>
                    <a:pt x="1704" y="2399"/>
                    <a:pt x="1327" y="2755"/>
                    <a:pt x="651" y="2755"/>
                  </a:cubicBezTo>
                  <a:cubicBezTo>
                    <a:pt x="442" y="2754"/>
                    <a:pt x="155" y="2686"/>
                    <a:pt x="155" y="2686"/>
                  </a:cubicBezTo>
                  <a:cubicBezTo>
                    <a:pt x="0" y="2177"/>
                    <a:pt x="0" y="2177"/>
                    <a:pt x="0" y="2177"/>
                  </a:cubicBezTo>
                  <a:cubicBezTo>
                    <a:pt x="143" y="2316"/>
                    <a:pt x="397" y="2466"/>
                    <a:pt x="658" y="2466"/>
                  </a:cubicBezTo>
                  <a:cubicBezTo>
                    <a:pt x="929" y="2466"/>
                    <a:pt x="1252" y="2298"/>
                    <a:pt x="1252" y="2030"/>
                  </a:cubicBezTo>
                  <a:cubicBezTo>
                    <a:pt x="1252" y="1512"/>
                    <a:pt x="46" y="1598"/>
                    <a:pt x="46" y="731"/>
                  </a:cubicBezTo>
                  <a:cubicBezTo>
                    <a:pt x="46" y="433"/>
                    <a:pt x="254" y="0"/>
                    <a:pt x="973" y="0"/>
                  </a:cubicBezTo>
                  <a:cubicBezTo>
                    <a:pt x="1207" y="0"/>
                    <a:pt x="1467" y="69"/>
                    <a:pt x="1467" y="69"/>
                  </a:cubicBezTo>
                  <a:lnTo>
                    <a:pt x="1467" y="479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 sz="1600"/>
            </a:p>
          </p:txBody>
        </p:sp>
      </p:grpSp>
      <p:sp>
        <p:nvSpPr>
          <p:cNvPr id="17" name="コンテンツ プレースホルダー 2"/>
          <p:cNvSpPr>
            <a:spLocks noGrp="1"/>
          </p:cNvSpPr>
          <p:nvPr>
            <p:ph idx="1" hasCustomPrompt="1"/>
          </p:nvPr>
        </p:nvSpPr>
        <p:spPr>
          <a:xfrm>
            <a:off x="252004" y="845739"/>
            <a:ext cx="8645525" cy="374217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ja-JP" altLang="en-US" sz="1440" dirty="0">
                <a:latin typeface="游ゴシック" panose="020B0400000000000000" pitchFamily="50" charset="-128"/>
                <a:ea typeface="游ゴシック" panose="020B0400000000000000" pitchFamily="50" charset="-128"/>
              </a:defRPr>
            </a:lvl1pPr>
            <a:lvl2pPr>
              <a:defRPr lang="ja-JP" altLang="en-US" sz="1200" dirty="0">
                <a:latin typeface="游ゴシック" panose="020B0400000000000000" pitchFamily="50" charset="-128"/>
                <a:ea typeface="游ゴシック" panose="020B0400000000000000" pitchFamily="50" charset="-128"/>
              </a:defRPr>
            </a:lvl2pPr>
            <a:lvl3pPr>
              <a:defRPr lang="ja-JP" altLang="en-US" dirty="0"/>
            </a:lvl3pPr>
            <a:lvl4pPr>
              <a:defRPr lang="ja-JP" altLang="en-US" dirty="0"/>
            </a:lvl4pPr>
            <a:lvl5pPr>
              <a:defRPr lang="ja-JP" altLang="en-US" dirty="0"/>
            </a:lvl5pPr>
          </a:lstStyle>
          <a:p>
            <a:pPr lvl="0"/>
            <a:r>
              <a:rPr lang="ja-JP" altLang="en-US"/>
              <a:t>テキスト</a:t>
            </a:r>
          </a:p>
          <a:p>
            <a:pPr lvl="1"/>
            <a:r>
              <a:rPr lang="ja-JP" altLang="en-US"/>
              <a:t>テキスト</a:t>
            </a:r>
          </a:p>
        </p:txBody>
      </p:sp>
    </p:spTree>
    <p:extLst>
      <p:ext uri="{BB962C8B-B14F-4D97-AF65-F5344CB8AC3E}">
        <p14:creationId xmlns:p14="http://schemas.microsoft.com/office/powerpoint/2010/main" val="254392446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hapter_Red_Symbolm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00" name="Picture 4" descr="チェッカーフラッグ とは？ | F1用語集 | Formula1-Data">
            <a:extLst>
              <a:ext uri="{FF2B5EF4-FFF2-40B4-BE49-F238E27FC236}">
                <a16:creationId xmlns:a16="http://schemas.microsoft.com/office/drawing/2014/main" id="{3AAA398B-9942-424B-A046-A53292BB26CE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834"/>
          <a:stretch/>
        </p:blipFill>
        <p:spPr bwMode="auto">
          <a:xfrm flipH="1">
            <a:off x="0" y="0"/>
            <a:ext cx="9141192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フッター プレースホルダー 3"/>
          <p:cNvSpPr>
            <a:spLocks noGrp="1"/>
          </p:cNvSpPr>
          <p:nvPr>
            <p:ph type="ftr" sz="quarter" idx="10"/>
          </p:nvPr>
        </p:nvSpPr>
        <p:spPr>
          <a:xfrm>
            <a:off x="4932363" y="4935604"/>
            <a:ext cx="3960812" cy="20155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altLang="ja-JP"/>
              <a:t>Copyright 2021 FUJITSU LIMITED</a:t>
            </a:r>
            <a:endParaRPr lang="de-DE" altLang="ja-JP"/>
          </a:p>
        </p:txBody>
      </p:sp>
      <p:pic>
        <p:nvPicPr>
          <p:cNvPr id="29" name="図 2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7991" y="247968"/>
            <a:ext cx="1216206" cy="613781"/>
          </a:xfrm>
          <a:prstGeom prst="rect">
            <a:avLst/>
          </a:prstGeom>
        </p:spPr>
      </p:pic>
      <p:sp>
        <p:nvSpPr>
          <p:cNvPr id="2" name="テキスト ボックス 1">
            <a:extLst>
              <a:ext uri="{FF2B5EF4-FFF2-40B4-BE49-F238E27FC236}">
                <a16:creationId xmlns:a16="http://schemas.microsoft.com/office/drawing/2014/main" id="{A4121F75-F5D5-4390-89FC-3D0572FF432E}"/>
              </a:ext>
            </a:extLst>
          </p:cNvPr>
          <p:cNvSpPr txBox="1"/>
          <p:nvPr userDrawn="1"/>
        </p:nvSpPr>
        <p:spPr>
          <a:xfrm>
            <a:off x="899593" y="2067695"/>
            <a:ext cx="24465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kumimoji="1" lang="ja-JP" altLang="en-US" sz="180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トップチェッカーを目指して</a:t>
            </a:r>
          </a:p>
        </p:txBody>
      </p:sp>
    </p:spTree>
    <p:extLst>
      <p:ext uri="{BB962C8B-B14F-4D97-AF65-F5344CB8AC3E}">
        <p14:creationId xmlns:p14="http://schemas.microsoft.com/office/powerpoint/2010/main" val="21972622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143000" y="841115"/>
            <a:ext cx="6858000" cy="1791735"/>
          </a:xfrm>
        </p:spPr>
        <p:txBody>
          <a:bodyPr anchor="b"/>
          <a:lstStyle>
            <a:lvl1pPr algn="ctr">
              <a:defRPr sz="48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1143000" y="2701096"/>
            <a:ext cx="6858000" cy="1242629"/>
          </a:xfrm>
        </p:spPr>
        <p:txBody>
          <a:bodyPr/>
          <a:lstStyle>
            <a:lvl1pPr marL="0" indent="0" algn="ctr">
              <a:buNone/>
              <a:defRPr sz="1920"/>
            </a:lvl1pPr>
            <a:lvl2pPr marL="456890" indent="0" algn="ctr">
              <a:buNone/>
              <a:defRPr sz="1600"/>
            </a:lvl2pPr>
            <a:lvl3pPr marL="913784" indent="0" algn="ctr">
              <a:buNone/>
              <a:defRPr sz="1440"/>
            </a:lvl3pPr>
            <a:lvl4pPr marL="1370676" indent="0" algn="ctr">
              <a:buNone/>
              <a:defRPr sz="1280"/>
            </a:lvl4pPr>
            <a:lvl5pPr marL="1827566" indent="0" algn="ctr">
              <a:buNone/>
              <a:defRPr sz="1280"/>
            </a:lvl5pPr>
            <a:lvl6pPr marL="2284457" indent="0" algn="ctr">
              <a:buNone/>
              <a:defRPr sz="1280"/>
            </a:lvl6pPr>
            <a:lvl7pPr marL="2741348" indent="0" algn="ctr">
              <a:buNone/>
              <a:defRPr sz="1280"/>
            </a:lvl7pPr>
            <a:lvl8pPr marL="3198240" indent="0" algn="ctr">
              <a:buNone/>
              <a:defRPr sz="1280"/>
            </a:lvl8pPr>
            <a:lvl9pPr marL="3655132" indent="0" algn="ctr">
              <a:buNone/>
              <a:defRPr sz="1280"/>
            </a:lvl9pPr>
          </a:lstStyle>
          <a:p>
            <a:r>
              <a:rPr kumimoji="1" lang="ja-JP" altLang="en-US"/>
              <a:t>マスター サブタイトルの書式設定</a:t>
            </a:r>
          </a:p>
        </p:txBody>
      </p:sp>
      <p:grpSp>
        <p:nvGrpSpPr>
          <p:cNvPr id="6" name="Group 106" descr="Message Lockup"/>
          <p:cNvGrpSpPr>
            <a:grpSpLocks/>
          </p:cNvGrpSpPr>
          <p:nvPr userDrawn="1"/>
        </p:nvGrpSpPr>
        <p:grpSpPr bwMode="auto">
          <a:xfrm>
            <a:off x="6" y="2"/>
            <a:ext cx="9148763" cy="5145087"/>
            <a:chOff x="0" y="0"/>
            <a:chExt cx="5763" cy="3242"/>
          </a:xfrm>
        </p:grpSpPr>
        <p:sp>
          <p:nvSpPr>
            <p:cNvPr id="7" name="Rectangle 3"/>
            <p:cNvSpPr>
              <a:spLocks noChangeArrowheads="1"/>
            </p:cNvSpPr>
            <p:nvPr/>
          </p:nvSpPr>
          <p:spPr bwMode="gray">
            <a:xfrm>
              <a:off x="0" y="0"/>
              <a:ext cx="5760" cy="324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rgbClr val="50505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53882" dir="2700000" algn="ctr" rotWithShape="0">
                      <a:schemeClr val="bg2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ja-JP" altLang="en-US" sz="1600">
                <a:cs typeface="Meiryo UI" pitchFamily="50" charset="-128"/>
              </a:endParaRPr>
            </a:p>
          </p:txBody>
        </p:sp>
        <p:grpSp>
          <p:nvGrpSpPr>
            <p:cNvPr id="8" name="Group 74"/>
            <p:cNvGrpSpPr>
              <a:grpSpLocks noChangeAspect="1"/>
            </p:cNvGrpSpPr>
            <p:nvPr/>
          </p:nvGrpSpPr>
          <p:grpSpPr bwMode="auto">
            <a:xfrm>
              <a:off x="0" y="0"/>
              <a:ext cx="5763" cy="3242"/>
              <a:chOff x="0" y="0"/>
              <a:chExt cx="5763" cy="3242"/>
            </a:xfrm>
          </p:grpSpPr>
          <p:sp>
            <p:nvSpPr>
              <p:cNvPr id="9" name="AutoShape 73"/>
              <p:cNvSpPr>
                <a:spLocks noChangeAspect="1" noChangeArrowheads="1" noTextEdit="1"/>
              </p:cNvSpPr>
              <p:nvPr/>
            </p:nvSpPr>
            <p:spPr bwMode="gray">
              <a:xfrm>
                <a:off x="0" y="0"/>
                <a:ext cx="5763" cy="32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 sz="1600"/>
              </a:p>
            </p:txBody>
          </p:sp>
          <p:sp>
            <p:nvSpPr>
              <p:cNvPr id="10" name="Freeform 75"/>
              <p:cNvSpPr>
                <a:spLocks/>
              </p:cNvSpPr>
              <p:nvPr/>
            </p:nvSpPr>
            <p:spPr bwMode="gray">
              <a:xfrm>
                <a:off x="1633" y="1949"/>
                <a:ext cx="73" cy="120"/>
              </a:xfrm>
              <a:custGeom>
                <a:avLst/>
                <a:gdLst>
                  <a:gd name="T0" fmla="*/ 0 w 363"/>
                  <a:gd name="T1" fmla="*/ 0 h 597"/>
                  <a:gd name="T2" fmla="*/ 0 w 363"/>
                  <a:gd name="T3" fmla="*/ 0 h 597"/>
                  <a:gd name="T4" fmla="*/ 0 w 363"/>
                  <a:gd name="T5" fmla="*/ 0 h 597"/>
                  <a:gd name="T6" fmla="*/ 0 w 363"/>
                  <a:gd name="T7" fmla="*/ 0 h 597"/>
                  <a:gd name="T8" fmla="*/ 0 w 363"/>
                  <a:gd name="T9" fmla="*/ 0 h 597"/>
                  <a:gd name="T10" fmla="*/ 0 w 363"/>
                  <a:gd name="T11" fmla="*/ 0 h 597"/>
                  <a:gd name="T12" fmla="*/ 0 w 363"/>
                  <a:gd name="T13" fmla="*/ 0 h 597"/>
                  <a:gd name="T14" fmla="*/ 0 w 363"/>
                  <a:gd name="T15" fmla="*/ 0 h 597"/>
                  <a:gd name="T16" fmla="*/ 0 w 363"/>
                  <a:gd name="T17" fmla="*/ 0 h 597"/>
                  <a:gd name="T18" fmla="*/ 0 w 363"/>
                  <a:gd name="T19" fmla="*/ 0 h 597"/>
                  <a:gd name="T20" fmla="*/ 0 w 363"/>
                  <a:gd name="T21" fmla="*/ 0 h 597"/>
                  <a:gd name="T22" fmla="*/ 0 w 363"/>
                  <a:gd name="T23" fmla="*/ 0 h 597"/>
                  <a:gd name="T24" fmla="*/ 0 w 363"/>
                  <a:gd name="T25" fmla="*/ 0 h 597"/>
                  <a:gd name="T26" fmla="*/ 0 w 363"/>
                  <a:gd name="T27" fmla="*/ 0 h 597"/>
                  <a:gd name="T28" fmla="*/ 0 w 363"/>
                  <a:gd name="T29" fmla="*/ 0 h 597"/>
                  <a:gd name="T30" fmla="*/ 0 w 363"/>
                  <a:gd name="T31" fmla="*/ 0 h 597"/>
                  <a:gd name="T32" fmla="*/ 0 w 363"/>
                  <a:gd name="T33" fmla="*/ 0 h 597"/>
                  <a:gd name="T34" fmla="*/ 0 w 363"/>
                  <a:gd name="T35" fmla="*/ 0 h 597"/>
                  <a:gd name="T36" fmla="*/ 0 w 363"/>
                  <a:gd name="T37" fmla="*/ 0 h 597"/>
                  <a:gd name="T38" fmla="*/ 0 w 363"/>
                  <a:gd name="T39" fmla="*/ 0 h 597"/>
                  <a:gd name="T40" fmla="*/ 0 w 363"/>
                  <a:gd name="T41" fmla="*/ 0 h 597"/>
                  <a:gd name="T42" fmla="*/ 0 w 363"/>
                  <a:gd name="T43" fmla="*/ 0 h 597"/>
                  <a:gd name="T44" fmla="*/ 0 w 363"/>
                  <a:gd name="T45" fmla="*/ 0 h 597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363" h="597">
                    <a:moveTo>
                      <a:pt x="0" y="573"/>
                    </a:moveTo>
                    <a:cubicBezTo>
                      <a:pt x="0" y="504"/>
                      <a:pt x="0" y="504"/>
                      <a:pt x="0" y="504"/>
                    </a:cubicBezTo>
                    <a:cubicBezTo>
                      <a:pt x="38" y="526"/>
                      <a:pt x="84" y="536"/>
                      <a:pt x="139" y="536"/>
                    </a:cubicBezTo>
                    <a:cubicBezTo>
                      <a:pt x="232" y="536"/>
                      <a:pt x="278" y="506"/>
                      <a:pt x="278" y="445"/>
                    </a:cubicBezTo>
                    <a:cubicBezTo>
                      <a:pt x="278" y="422"/>
                      <a:pt x="270" y="402"/>
                      <a:pt x="255" y="387"/>
                    </a:cubicBezTo>
                    <a:cubicBezTo>
                      <a:pt x="242" y="374"/>
                      <a:pt x="228" y="363"/>
                      <a:pt x="213" y="354"/>
                    </a:cubicBezTo>
                    <a:cubicBezTo>
                      <a:pt x="199" y="347"/>
                      <a:pt x="181" y="338"/>
                      <a:pt x="159" y="328"/>
                    </a:cubicBezTo>
                    <a:cubicBezTo>
                      <a:pt x="107" y="302"/>
                      <a:pt x="70" y="277"/>
                      <a:pt x="49" y="253"/>
                    </a:cubicBezTo>
                    <a:cubicBezTo>
                      <a:pt x="23" y="224"/>
                      <a:pt x="10" y="190"/>
                      <a:pt x="10" y="150"/>
                    </a:cubicBezTo>
                    <a:cubicBezTo>
                      <a:pt x="10" y="97"/>
                      <a:pt x="30" y="58"/>
                      <a:pt x="71" y="33"/>
                    </a:cubicBezTo>
                    <a:cubicBezTo>
                      <a:pt x="105" y="11"/>
                      <a:pt x="148" y="0"/>
                      <a:pt x="201" y="0"/>
                    </a:cubicBezTo>
                    <a:cubicBezTo>
                      <a:pt x="238" y="0"/>
                      <a:pt x="279" y="7"/>
                      <a:pt x="322" y="20"/>
                    </a:cubicBezTo>
                    <a:cubicBezTo>
                      <a:pt x="322" y="83"/>
                      <a:pt x="322" y="83"/>
                      <a:pt x="322" y="83"/>
                    </a:cubicBezTo>
                    <a:cubicBezTo>
                      <a:pt x="286" y="67"/>
                      <a:pt x="247" y="59"/>
                      <a:pt x="206" y="59"/>
                    </a:cubicBezTo>
                    <a:cubicBezTo>
                      <a:pt x="174" y="59"/>
                      <a:pt x="148" y="65"/>
                      <a:pt x="127" y="78"/>
                    </a:cubicBezTo>
                    <a:cubicBezTo>
                      <a:pt x="105" y="90"/>
                      <a:pt x="95" y="111"/>
                      <a:pt x="95" y="140"/>
                    </a:cubicBezTo>
                    <a:cubicBezTo>
                      <a:pt x="95" y="164"/>
                      <a:pt x="102" y="184"/>
                      <a:pt x="117" y="199"/>
                    </a:cubicBezTo>
                    <a:cubicBezTo>
                      <a:pt x="132" y="214"/>
                      <a:pt x="164" y="234"/>
                      <a:pt x="214" y="260"/>
                    </a:cubicBezTo>
                    <a:cubicBezTo>
                      <a:pt x="254" y="280"/>
                      <a:pt x="280" y="294"/>
                      <a:pt x="293" y="305"/>
                    </a:cubicBezTo>
                    <a:cubicBezTo>
                      <a:pt x="319" y="323"/>
                      <a:pt x="337" y="343"/>
                      <a:pt x="348" y="365"/>
                    </a:cubicBezTo>
                    <a:cubicBezTo>
                      <a:pt x="358" y="384"/>
                      <a:pt x="363" y="408"/>
                      <a:pt x="363" y="436"/>
                    </a:cubicBezTo>
                    <a:cubicBezTo>
                      <a:pt x="363" y="543"/>
                      <a:pt x="290" y="597"/>
                      <a:pt x="145" y="597"/>
                    </a:cubicBezTo>
                    <a:cubicBezTo>
                      <a:pt x="86" y="597"/>
                      <a:pt x="38" y="589"/>
                      <a:pt x="0" y="573"/>
                    </a:cubicBezTo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 sz="1600"/>
              </a:p>
            </p:txBody>
          </p:sp>
          <p:sp>
            <p:nvSpPr>
              <p:cNvPr id="11" name="Freeform 76"/>
              <p:cNvSpPr>
                <a:spLocks/>
              </p:cNvSpPr>
              <p:nvPr/>
            </p:nvSpPr>
            <p:spPr bwMode="gray">
              <a:xfrm>
                <a:off x="1733" y="1895"/>
                <a:ext cx="86" cy="170"/>
              </a:xfrm>
              <a:custGeom>
                <a:avLst/>
                <a:gdLst>
                  <a:gd name="T0" fmla="*/ 0 w 429"/>
                  <a:gd name="T1" fmla="*/ 0 h 851"/>
                  <a:gd name="T2" fmla="*/ 0 w 429"/>
                  <a:gd name="T3" fmla="*/ 0 h 851"/>
                  <a:gd name="T4" fmla="*/ 0 w 429"/>
                  <a:gd name="T5" fmla="*/ 0 h 851"/>
                  <a:gd name="T6" fmla="*/ 0 w 429"/>
                  <a:gd name="T7" fmla="*/ 0 h 851"/>
                  <a:gd name="T8" fmla="*/ 0 w 429"/>
                  <a:gd name="T9" fmla="*/ 0 h 851"/>
                  <a:gd name="T10" fmla="*/ 0 w 429"/>
                  <a:gd name="T11" fmla="*/ 0 h 851"/>
                  <a:gd name="T12" fmla="*/ 0 w 429"/>
                  <a:gd name="T13" fmla="*/ 0 h 851"/>
                  <a:gd name="T14" fmla="*/ 0 w 429"/>
                  <a:gd name="T15" fmla="*/ 0 h 851"/>
                  <a:gd name="T16" fmla="*/ 0 w 429"/>
                  <a:gd name="T17" fmla="*/ 0 h 851"/>
                  <a:gd name="T18" fmla="*/ 0 w 429"/>
                  <a:gd name="T19" fmla="*/ 0 h 851"/>
                  <a:gd name="T20" fmla="*/ 0 w 429"/>
                  <a:gd name="T21" fmla="*/ 0 h 851"/>
                  <a:gd name="T22" fmla="*/ 0 w 429"/>
                  <a:gd name="T23" fmla="*/ 0 h 851"/>
                  <a:gd name="T24" fmla="*/ 0 w 429"/>
                  <a:gd name="T25" fmla="*/ 0 h 851"/>
                  <a:gd name="T26" fmla="*/ 0 w 429"/>
                  <a:gd name="T27" fmla="*/ 0 h 851"/>
                  <a:gd name="T28" fmla="*/ 0 w 429"/>
                  <a:gd name="T29" fmla="*/ 0 h 851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429" h="851">
                    <a:moveTo>
                      <a:pt x="0" y="851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96" y="0"/>
                      <a:pt x="96" y="0"/>
                      <a:pt x="96" y="0"/>
                    </a:cubicBezTo>
                    <a:cubicBezTo>
                      <a:pt x="96" y="300"/>
                      <a:pt x="96" y="300"/>
                      <a:pt x="96" y="300"/>
                    </a:cubicBezTo>
                    <a:cubicBezTo>
                      <a:pt x="147" y="280"/>
                      <a:pt x="194" y="270"/>
                      <a:pt x="239" y="270"/>
                    </a:cubicBezTo>
                    <a:cubicBezTo>
                      <a:pt x="328" y="270"/>
                      <a:pt x="386" y="300"/>
                      <a:pt x="411" y="359"/>
                    </a:cubicBezTo>
                    <a:cubicBezTo>
                      <a:pt x="423" y="386"/>
                      <a:pt x="429" y="434"/>
                      <a:pt x="429" y="504"/>
                    </a:cubicBezTo>
                    <a:cubicBezTo>
                      <a:pt x="429" y="851"/>
                      <a:pt x="429" y="851"/>
                      <a:pt x="429" y="851"/>
                    </a:cubicBezTo>
                    <a:cubicBezTo>
                      <a:pt x="332" y="851"/>
                      <a:pt x="332" y="851"/>
                      <a:pt x="332" y="851"/>
                    </a:cubicBezTo>
                    <a:cubicBezTo>
                      <a:pt x="332" y="489"/>
                      <a:pt x="332" y="489"/>
                      <a:pt x="332" y="489"/>
                    </a:cubicBezTo>
                    <a:cubicBezTo>
                      <a:pt x="332" y="435"/>
                      <a:pt x="326" y="397"/>
                      <a:pt x="315" y="374"/>
                    </a:cubicBezTo>
                    <a:cubicBezTo>
                      <a:pt x="300" y="344"/>
                      <a:pt x="271" y="329"/>
                      <a:pt x="229" y="329"/>
                    </a:cubicBezTo>
                    <a:cubicBezTo>
                      <a:pt x="192" y="329"/>
                      <a:pt x="147" y="340"/>
                      <a:pt x="96" y="363"/>
                    </a:cubicBezTo>
                    <a:cubicBezTo>
                      <a:pt x="96" y="851"/>
                      <a:pt x="96" y="851"/>
                      <a:pt x="96" y="851"/>
                    </a:cubicBezTo>
                    <a:lnTo>
                      <a:pt x="0" y="85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 sz="1600"/>
              </a:p>
            </p:txBody>
          </p:sp>
          <p:sp>
            <p:nvSpPr>
              <p:cNvPr id="12" name="Freeform 77"/>
              <p:cNvSpPr>
                <a:spLocks noEditPoints="1"/>
              </p:cNvSpPr>
              <p:nvPr/>
            </p:nvSpPr>
            <p:spPr bwMode="gray">
              <a:xfrm>
                <a:off x="1845" y="1949"/>
                <a:ext cx="88" cy="120"/>
              </a:xfrm>
              <a:custGeom>
                <a:avLst/>
                <a:gdLst>
                  <a:gd name="T0" fmla="*/ 0 w 439"/>
                  <a:gd name="T1" fmla="*/ 0 h 597"/>
                  <a:gd name="T2" fmla="*/ 0 w 439"/>
                  <a:gd name="T3" fmla="*/ 0 h 597"/>
                  <a:gd name="T4" fmla="*/ 0 w 439"/>
                  <a:gd name="T5" fmla="*/ 0 h 597"/>
                  <a:gd name="T6" fmla="*/ 0 w 439"/>
                  <a:gd name="T7" fmla="*/ 0 h 597"/>
                  <a:gd name="T8" fmla="*/ 0 w 439"/>
                  <a:gd name="T9" fmla="*/ 0 h 597"/>
                  <a:gd name="T10" fmla="*/ 0 w 439"/>
                  <a:gd name="T11" fmla="*/ 0 h 597"/>
                  <a:gd name="T12" fmla="*/ 0 w 439"/>
                  <a:gd name="T13" fmla="*/ 0 h 597"/>
                  <a:gd name="T14" fmla="*/ 0 w 439"/>
                  <a:gd name="T15" fmla="*/ 0 h 597"/>
                  <a:gd name="T16" fmla="*/ 0 w 439"/>
                  <a:gd name="T17" fmla="*/ 0 h 597"/>
                  <a:gd name="T18" fmla="*/ 0 w 439"/>
                  <a:gd name="T19" fmla="*/ 0 h 597"/>
                  <a:gd name="T20" fmla="*/ 0 w 439"/>
                  <a:gd name="T21" fmla="*/ 0 h 597"/>
                  <a:gd name="T22" fmla="*/ 0 w 439"/>
                  <a:gd name="T23" fmla="*/ 0 h 597"/>
                  <a:gd name="T24" fmla="*/ 0 w 439"/>
                  <a:gd name="T25" fmla="*/ 0 h 597"/>
                  <a:gd name="T26" fmla="*/ 0 w 439"/>
                  <a:gd name="T27" fmla="*/ 0 h 597"/>
                  <a:gd name="T28" fmla="*/ 0 w 439"/>
                  <a:gd name="T29" fmla="*/ 0 h 597"/>
                  <a:gd name="T30" fmla="*/ 0 w 439"/>
                  <a:gd name="T31" fmla="*/ 0 h 597"/>
                  <a:gd name="T32" fmla="*/ 0 w 439"/>
                  <a:gd name="T33" fmla="*/ 0 h 597"/>
                  <a:gd name="T34" fmla="*/ 0 w 439"/>
                  <a:gd name="T35" fmla="*/ 0 h 597"/>
                  <a:gd name="T36" fmla="*/ 0 w 439"/>
                  <a:gd name="T37" fmla="*/ 0 h 597"/>
                  <a:gd name="T38" fmla="*/ 0 w 439"/>
                  <a:gd name="T39" fmla="*/ 0 h 597"/>
                  <a:gd name="T40" fmla="*/ 0 w 439"/>
                  <a:gd name="T41" fmla="*/ 0 h 597"/>
                  <a:gd name="T42" fmla="*/ 0 w 439"/>
                  <a:gd name="T43" fmla="*/ 0 h 597"/>
                  <a:gd name="T44" fmla="*/ 0 w 439"/>
                  <a:gd name="T45" fmla="*/ 0 h 597"/>
                  <a:gd name="T46" fmla="*/ 0 w 439"/>
                  <a:gd name="T47" fmla="*/ 0 h 597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439" h="597">
                    <a:moveTo>
                      <a:pt x="342" y="224"/>
                    </a:moveTo>
                    <a:cubicBezTo>
                      <a:pt x="342" y="194"/>
                      <a:pt x="342" y="194"/>
                      <a:pt x="342" y="194"/>
                    </a:cubicBezTo>
                    <a:cubicBezTo>
                      <a:pt x="342" y="157"/>
                      <a:pt x="336" y="129"/>
                      <a:pt x="324" y="108"/>
                    </a:cubicBezTo>
                    <a:cubicBezTo>
                      <a:pt x="306" y="77"/>
                      <a:pt x="269" y="61"/>
                      <a:pt x="212" y="61"/>
                    </a:cubicBezTo>
                    <a:cubicBezTo>
                      <a:pt x="160" y="61"/>
                      <a:pt x="108" y="71"/>
                      <a:pt x="55" y="93"/>
                    </a:cubicBezTo>
                    <a:cubicBezTo>
                      <a:pt x="55" y="25"/>
                      <a:pt x="55" y="25"/>
                      <a:pt x="55" y="25"/>
                    </a:cubicBezTo>
                    <a:cubicBezTo>
                      <a:pt x="108" y="9"/>
                      <a:pt x="164" y="0"/>
                      <a:pt x="222" y="0"/>
                    </a:cubicBezTo>
                    <a:cubicBezTo>
                      <a:pt x="310" y="0"/>
                      <a:pt x="371" y="20"/>
                      <a:pt x="404" y="60"/>
                    </a:cubicBezTo>
                    <a:cubicBezTo>
                      <a:pt x="422" y="82"/>
                      <a:pt x="432" y="114"/>
                      <a:pt x="437" y="157"/>
                    </a:cubicBezTo>
                    <a:cubicBezTo>
                      <a:pt x="438" y="173"/>
                      <a:pt x="439" y="196"/>
                      <a:pt x="439" y="227"/>
                    </a:cubicBezTo>
                    <a:cubicBezTo>
                      <a:pt x="439" y="570"/>
                      <a:pt x="439" y="570"/>
                      <a:pt x="439" y="570"/>
                    </a:cubicBezTo>
                    <a:cubicBezTo>
                      <a:pt x="373" y="588"/>
                      <a:pt x="303" y="597"/>
                      <a:pt x="229" y="597"/>
                    </a:cubicBezTo>
                    <a:cubicBezTo>
                      <a:pt x="158" y="597"/>
                      <a:pt x="103" y="586"/>
                      <a:pt x="64" y="564"/>
                    </a:cubicBezTo>
                    <a:cubicBezTo>
                      <a:pt x="22" y="540"/>
                      <a:pt x="0" y="498"/>
                      <a:pt x="0" y="438"/>
                    </a:cubicBezTo>
                    <a:cubicBezTo>
                      <a:pt x="0" y="369"/>
                      <a:pt x="25" y="318"/>
                      <a:pt x="75" y="285"/>
                    </a:cubicBezTo>
                    <a:cubicBezTo>
                      <a:pt x="112" y="261"/>
                      <a:pt x="175" y="243"/>
                      <a:pt x="263" y="233"/>
                    </a:cubicBezTo>
                    <a:cubicBezTo>
                      <a:pt x="279" y="231"/>
                      <a:pt x="306" y="228"/>
                      <a:pt x="342" y="224"/>
                    </a:cubicBezTo>
                    <a:moveTo>
                      <a:pt x="342" y="279"/>
                    </a:moveTo>
                    <a:cubicBezTo>
                      <a:pt x="283" y="285"/>
                      <a:pt x="239" y="292"/>
                      <a:pt x="208" y="300"/>
                    </a:cubicBezTo>
                    <a:cubicBezTo>
                      <a:pt x="135" y="318"/>
                      <a:pt x="99" y="361"/>
                      <a:pt x="99" y="428"/>
                    </a:cubicBezTo>
                    <a:cubicBezTo>
                      <a:pt x="99" y="465"/>
                      <a:pt x="109" y="492"/>
                      <a:pt x="131" y="509"/>
                    </a:cubicBezTo>
                    <a:cubicBezTo>
                      <a:pt x="155" y="529"/>
                      <a:pt x="192" y="539"/>
                      <a:pt x="244" y="539"/>
                    </a:cubicBezTo>
                    <a:cubicBezTo>
                      <a:pt x="279" y="539"/>
                      <a:pt x="312" y="534"/>
                      <a:pt x="342" y="525"/>
                    </a:cubicBezTo>
                    <a:lnTo>
                      <a:pt x="342" y="27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 sz="1600"/>
              </a:p>
            </p:txBody>
          </p:sp>
          <p:sp>
            <p:nvSpPr>
              <p:cNvPr id="13" name="Freeform 78"/>
              <p:cNvSpPr>
                <a:spLocks noEditPoints="1"/>
              </p:cNvSpPr>
              <p:nvPr/>
            </p:nvSpPr>
            <p:spPr bwMode="gray">
              <a:xfrm>
                <a:off x="1968" y="1949"/>
                <a:ext cx="88" cy="171"/>
              </a:xfrm>
              <a:custGeom>
                <a:avLst/>
                <a:gdLst>
                  <a:gd name="T0" fmla="*/ 0 w 444"/>
                  <a:gd name="T1" fmla="*/ 0 h 852"/>
                  <a:gd name="T2" fmla="*/ 0 w 444"/>
                  <a:gd name="T3" fmla="*/ 0 h 852"/>
                  <a:gd name="T4" fmla="*/ 0 w 444"/>
                  <a:gd name="T5" fmla="*/ 0 h 852"/>
                  <a:gd name="T6" fmla="*/ 0 w 444"/>
                  <a:gd name="T7" fmla="*/ 0 h 852"/>
                  <a:gd name="T8" fmla="*/ 0 w 444"/>
                  <a:gd name="T9" fmla="*/ 0 h 852"/>
                  <a:gd name="T10" fmla="*/ 0 w 444"/>
                  <a:gd name="T11" fmla="*/ 0 h 852"/>
                  <a:gd name="T12" fmla="*/ 0 w 444"/>
                  <a:gd name="T13" fmla="*/ 0 h 852"/>
                  <a:gd name="T14" fmla="*/ 0 w 444"/>
                  <a:gd name="T15" fmla="*/ 0 h 852"/>
                  <a:gd name="T16" fmla="*/ 0 w 444"/>
                  <a:gd name="T17" fmla="*/ 0 h 852"/>
                  <a:gd name="T18" fmla="*/ 0 w 444"/>
                  <a:gd name="T19" fmla="*/ 0 h 852"/>
                  <a:gd name="T20" fmla="*/ 0 w 444"/>
                  <a:gd name="T21" fmla="*/ 0 h 852"/>
                  <a:gd name="T22" fmla="*/ 0 w 444"/>
                  <a:gd name="T23" fmla="*/ 0 h 852"/>
                  <a:gd name="T24" fmla="*/ 0 w 444"/>
                  <a:gd name="T25" fmla="*/ 0 h 852"/>
                  <a:gd name="T26" fmla="*/ 0 w 444"/>
                  <a:gd name="T27" fmla="*/ 0 h 852"/>
                  <a:gd name="T28" fmla="*/ 0 w 444"/>
                  <a:gd name="T29" fmla="*/ 0 h 852"/>
                  <a:gd name="T30" fmla="*/ 0 w 444"/>
                  <a:gd name="T31" fmla="*/ 0 h 852"/>
                  <a:gd name="T32" fmla="*/ 0 w 444"/>
                  <a:gd name="T33" fmla="*/ 0 h 852"/>
                  <a:gd name="T34" fmla="*/ 0 w 444"/>
                  <a:gd name="T35" fmla="*/ 0 h 852"/>
                  <a:gd name="T36" fmla="*/ 0 w 444"/>
                  <a:gd name="T37" fmla="*/ 0 h 852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444" h="852">
                    <a:moveTo>
                      <a:pt x="96" y="557"/>
                    </a:moveTo>
                    <a:cubicBezTo>
                      <a:pt x="96" y="852"/>
                      <a:pt x="96" y="852"/>
                      <a:pt x="96" y="852"/>
                    </a:cubicBezTo>
                    <a:cubicBezTo>
                      <a:pt x="0" y="852"/>
                      <a:pt x="0" y="852"/>
                      <a:pt x="0" y="852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66" y="8"/>
                      <a:pt x="131" y="0"/>
                      <a:pt x="195" y="0"/>
                    </a:cubicBezTo>
                    <a:cubicBezTo>
                      <a:pt x="293" y="0"/>
                      <a:pt x="360" y="30"/>
                      <a:pt x="396" y="89"/>
                    </a:cubicBezTo>
                    <a:cubicBezTo>
                      <a:pt x="428" y="142"/>
                      <a:pt x="444" y="211"/>
                      <a:pt x="444" y="298"/>
                    </a:cubicBezTo>
                    <a:cubicBezTo>
                      <a:pt x="444" y="389"/>
                      <a:pt x="423" y="462"/>
                      <a:pt x="383" y="519"/>
                    </a:cubicBezTo>
                    <a:cubicBezTo>
                      <a:pt x="345" y="571"/>
                      <a:pt x="288" y="597"/>
                      <a:pt x="214" y="597"/>
                    </a:cubicBezTo>
                    <a:cubicBezTo>
                      <a:pt x="183" y="597"/>
                      <a:pt x="156" y="592"/>
                      <a:pt x="134" y="582"/>
                    </a:cubicBezTo>
                    <a:cubicBezTo>
                      <a:pt x="124" y="577"/>
                      <a:pt x="111" y="569"/>
                      <a:pt x="96" y="557"/>
                    </a:cubicBezTo>
                    <a:moveTo>
                      <a:pt x="96" y="490"/>
                    </a:moveTo>
                    <a:cubicBezTo>
                      <a:pt x="129" y="522"/>
                      <a:pt x="165" y="539"/>
                      <a:pt x="204" y="539"/>
                    </a:cubicBezTo>
                    <a:cubicBezTo>
                      <a:pt x="253" y="539"/>
                      <a:pt x="290" y="514"/>
                      <a:pt x="313" y="464"/>
                    </a:cubicBezTo>
                    <a:cubicBezTo>
                      <a:pt x="335" y="418"/>
                      <a:pt x="345" y="363"/>
                      <a:pt x="345" y="296"/>
                    </a:cubicBezTo>
                    <a:cubicBezTo>
                      <a:pt x="345" y="214"/>
                      <a:pt x="331" y="152"/>
                      <a:pt x="302" y="110"/>
                    </a:cubicBezTo>
                    <a:cubicBezTo>
                      <a:pt x="278" y="76"/>
                      <a:pt x="238" y="59"/>
                      <a:pt x="180" y="59"/>
                    </a:cubicBezTo>
                    <a:cubicBezTo>
                      <a:pt x="155" y="59"/>
                      <a:pt x="127" y="61"/>
                      <a:pt x="96" y="66"/>
                    </a:cubicBezTo>
                    <a:lnTo>
                      <a:pt x="96" y="49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 sz="1600"/>
              </a:p>
            </p:txBody>
          </p:sp>
          <p:sp>
            <p:nvSpPr>
              <p:cNvPr id="14" name="Freeform 79"/>
              <p:cNvSpPr>
                <a:spLocks noEditPoints="1"/>
              </p:cNvSpPr>
              <p:nvPr/>
            </p:nvSpPr>
            <p:spPr bwMode="gray">
              <a:xfrm>
                <a:off x="2083" y="1911"/>
                <a:ext cx="24" cy="154"/>
              </a:xfrm>
              <a:custGeom>
                <a:avLst/>
                <a:gdLst>
                  <a:gd name="T0" fmla="*/ 0 w 118"/>
                  <a:gd name="T1" fmla="*/ 0 h 772"/>
                  <a:gd name="T2" fmla="*/ 0 w 118"/>
                  <a:gd name="T3" fmla="*/ 0 h 772"/>
                  <a:gd name="T4" fmla="*/ 0 w 118"/>
                  <a:gd name="T5" fmla="*/ 0 h 772"/>
                  <a:gd name="T6" fmla="*/ 0 w 118"/>
                  <a:gd name="T7" fmla="*/ 0 h 772"/>
                  <a:gd name="T8" fmla="*/ 0 w 118"/>
                  <a:gd name="T9" fmla="*/ 0 h 772"/>
                  <a:gd name="T10" fmla="*/ 0 w 118"/>
                  <a:gd name="T11" fmla="*/ 0 h 772"/>
                  <a:gd name="T12" fmla="*/ 0 w 118"/>
                  <a:gd name="T13" fmla="*/ 0 h 772"/>
                  <a:gd name="T14" fmla="*/ 0 w 118"/>
                  <a:gd name="T15" fmla="*/ 0 h 772"/>
                  <a:gd name="T16" fmla="*/ 0 w 118"/>
                  <a:gd name="T17" fmla="*/ 0 h 772"/>
                  <a:gd name="T18" fmla="*/ 0 w 118"/>
                  <a:gd name="T19" fmla="*/ 0 h 772"/>
                  <a:gd name="T20" fmla="*/ 0 w 118"/>
                  <a:gd name="T21" fmla="*/ 0 h 772"/>
                  <a:gd name="T22" fmla="*/ 0 w 118"/>
                  <a:gd name="T23" fmla="*/ 0 h 772"/>
                  <a:gd name="T24" fmla="*/ 0 w 118"/>
                  <a:gd name="T25" fmla="*/ 0 h 772"/>
                  <a:gd name="T26" fmla="*/ 0 w 118"/>
                  <a:gd name="T27" fmla="*/ 0 h 772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118" h="772">
                    <a:moveTo>
                      <a:pt x="59" y="0"/>
                    </a:moveTo>
                    <a:cubicBezTo>
                      <a:pt x="76" y="0"/>
                      <a:pt x="91" y="6"/>
                      <a:pt x="103" y="19"/>
                    </a:cubicBezTo>
                    <a:cubicBezTo>
                      <a:pt x="113" y="31"/>
                      <a:pt x="118" y="44"/>
                      <a:pt x="118" y="59"/>
                    </a:cubicBezTo>
                    <a:cubicBezTo>
                      <a:pt x="118" y="77"/>
                      <a:pt x="111" y="91"/>
                      <a:pt x="98" y="103"/>
                    </a:cubicBezTo>
                    <a:cubicBezTo>
                      <a:pt x="87" y="113"/>
                      <a:pt x="74" y="118"/>
                      <a:pt x="58" y="118"/>
                    </a:cubicBezTo>
                    <a:cubicBezTo>
                      <a:pt x="41" y="118"/>
                      <a:pt x="26" y="112"/>
                      <a:pt x="15" y="99"/>
                    </a:cubicBezTo>
                    <a:cubicBezTo>
                      <a:pt x="5" y="88"/>
                      <a:pt x="0" y="74"/>
                      <a:pt x="0" y="58"/>
                    </a:cubicBezTo>
                    <a:cubicBezTo>
                      <a:pt x="0" y="41"/>
                      <a:pt x="6" y="27"/>
                      <a:pt x="19" y="15"/>
                    </a:cubicBezTo>
                    <a:cubicBezTo>
                      <a:pt x="30" y="5"/>
                      <a:pt x="43" y="0"/>
                      <a:pt x="59" y="0"/>
                    </a:cubicBezTo>
                    <a:moveTo>
                      <a:pt x="12" y="207"/>
                    </a:moveTo>
                    <a:cubicBezTo>
                      <a:pt x="108" y="207"/>
                      <a:pt x="108" y="207"/>
                      <a:pt x="108" y="207"/>
                    </a:cubicBezTo>
                    <a:cubicBezTo>
                      <a:pt x="108" y="772"/>
                      <a:pt x="108" y="772"/>
                      <a:pt x="108" y="772"/>
                    </a:cubicBezTo>
                    <a:cubicBezTo>
                      <a:pt x="12" y="772"/>
                      <a:pt x="12" y="772"/>
                      <a:pt x="12" y="772"/>
                    </a:cubicBezTo>
                    <a:lnTo>
                      <a:pt x="12" y="20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 sz="1600"/>
              </a:p>
            </p:txBody>
          </p:sp>
          <p:sp>
            <p:nvSpPr>
              <p:cNvPr id="15" name="Freeform 80"/>
              <p:cNvSpPr>
                <a:spLocks/>
              </p:cNvSpPr>
              <p:nvPr/>
            </p:nvSpPr>
            <p:spPr bwMode="gray">
              <a:xfrm>
                <a:off x="2141" y="1949"/>
                <a:ext cx="86" cy="116"/>
              </a:xfrm>
              <a:custGeom>
                <a:avLst/>
                <a:gdLst>
                  <a:gd name="T0" fmla="*/ 0 w 430"/>
                  <a:gd name="T1" fmla="*/ 0 h 581"/>
                  <a:gd name="T2" fmla="*/ 0 w 430"/>
                  <a:gd name="T3" fmla="*/ 0 h 581"/>
                  <a:gd name="T4" fmla="*/ 0 w 430"/>
                  <a:gd name="T5" fmla="*/ 0 h 581"/>
                  <a:gd name="T6" fmla="*/ 0 w 430"/>
                  <a:gd name="T7" fmla="*/ 0 h 581"/>
                  <a:gd name="T8" fmla="*/ 0 w 430"/>
                  <a:gd name="T9" fmla="*/ 0 h 581"/>
                  <a:gd name="T10" fmla="*/ 0 w 430"/>
                  <a:gd name="T11" fmla="*/ 0 h 581"/>
                  <a:gd name="T12" fmla="*/ 0 w 430"/>
                  <a:gd name="T13" fmla="*/ 0 h 581"/>
                  <a:gd name="T14" fmla="*/ 0 w 430"/>
                  <a:gd name="T15" fmla="*/ 0 h 581"/>
                  <a:gd name="T16" fmla="*/ 0 w 430"/>
                  <a:gd name="T17" fmla="*/ 0 h 581"/>
                  <a:gd name="T18" fmla="*/ 0 w 430"/>
                  <a:gd name="T19" fmla="*/ 0 h 581"/>
                  <a:gd name="T20" fmla="*/ 0 w 430"/>
                  <a:gd name="T21" fmla="*/ 0 h 581"/>
                  <a:gd name="T22" fmla="*/ 0 w 430"/>
                  <a:gd name="T23" fmla="*/ 0 h 581"/>
                  <a:gd name="T24" fmla="*/ 0 w 430"/>
                  <a:gd name="T25" fmla="*/ 0 h 58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430" h="581">
                    <a:moveTo>
                      <a:pt x="0" y="581"/>
                    </a:moveTo>
                    <a:cubicBezTo>
                      <a:pt x="0" y="23"/>
                      <a:pt x="0" y="23"/>
                      <a:pt x="0" y="23"/>
                    </a:cubicBezTo>
                    <a:cubicBezTo>
                      <a:pt x="90" y="8"/>
                      <a:pt x="165" y="0"/>
                      <a:pt x="227" y="0"/>
                    </a:cubicBezTo>
                    <a:cubicBezTo>
                      <a:pt x="325" y="0"/>
                      <a:pt x="387" y="30"/>
                      <a:pt x="412" y="89"/>
                    </a:cubicBezTo>
                    <a:cubicBezTo>
                      <a:pt x="424" y="117"/>
                      <a:pt x="430" y="165"/>
                      <a:pt x="430" y="234"/>
                    </a:cubicBezTo>
                    <a:cubicBezTo>
                      <a:pt x="430" y="581"/>
                      <a:pt x="430" y="581"/>
                      <a:pt x="430" y="581"/>
                    </a:cubicBezTo>
                    <a:cubicBezTo>
                      <a:pt x="333" y="581"/>
                      <a:pt x="333" y="581"/>
                      <a:pt x="333" y="581"/>
                    </a:cubicBezTo>
                    <a:cubicBezTo>
                      <a:pt x="333" y="240"/>
                      <a:pt x="333" y="240"/>
                      <a:pt x="333" y="240"/>
                    </a:cubicBezTo>
                    <a:cubicBezTo>
                      <a:pt x="333" y="173"/>
                      <a:pt x="327" y="128"/>
                      <a:pt x="316" y="105"/>
                    </a:cubicBezTo>
                    <a:cubicBezTo>
                      <a:pt x="300" y="74"/>
                      <a:pt x="267" y="59"/>
                      <a:pt x="217" y="59"/>
                    </a:cubicBezTo>
                    <a:cubicBezTo>
                      <a:pt x="178" y="59"/>
                      <a:pt x="138" y="63"/>
                      <a:pt x="97" y="71"/>
                    </a:cubicBezTo>
                    <a:cubicBezTo>
                      <a:pt x="97" y="581"/>
                      <a:pt x="97" y="581"/>
                      <a:pt x="97" y="581"/>
                    </a:cubicBezTo>
                    <a:lnTo>
                      <a:pt x="0" y="58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 sz="1600"/>
              </a:p>
            </p:txBody>
          </p:sp>
          <p:sp>
            <p:nvSpPr>
              <p:cNvPr id="16" name="Freeform 81"/>
              <p:cNvSpPr>
                <a:spLocks noEditPoints="1"/>
              </p:cNvSpPr>
              <p:nvPr/>
            </p:nvSpPr>
            <p:spPr bwMode="gray">
              <a:xfrm>
                <a:off x="2254" y="1949"/>
                <a:ext cx="89" cy="172"/>
              </a:xfrm>
              <a:custGeom>
                <a:avLst/>
                <a:gdLst>
                  <a:gd name="T0" fmla="*/ 0 w 446"/>
                  <a:gd name="T1" fmla="*/ 0 h 861"/>
                  <a:gd name="T2" fmla="*/ 0 w 446"/>
                  <a:gd name="T3" fmla="*/ 0 h 861"/>
                  <a:gd name="T4" fmla="*/ 0 w 446"/>
                  <a:gd name="T5" fmla="*/ 0 h 861"/>
                  <a:gd name="T6" fmla="*/ 0 w 446"/>
                  <a:gd name="T7" fmla="*/ 0 h 861"/>
                  <a:gd name="T8" fmla="*/ 0 w 446"/>
                  <a:gd name="T9" fmla="*/ 0 h 861"/>
                  <a:gd name="T10" fmla="*/ 0 w 446"/>
                  <a:gd name="T11" fmla="*/ 0 h 861"/>
                  <a:gd name="T12" fmla="*/ 0 w 446"/>
                  <a:gd name="T13" fmla="*/ 0 h 861"/>
                  <a:gd name="T14" fmla="*/ 0 w 446"/>
                  <a:gd name="T15" fmla="*/ 0 h 861"/>
                  <a:gd name="T16" fmla="*/ 0 w 446"/>
                  <a:gd name="T17" fmla="*/ 0 h 861"/>
                  <a:gd name="T18" fmla="*/ 0 w 446"/>
                  <a:gd name="T19" fmla="*/ 0 h 861"/>
                  <a:gd name="T20" fmla="*/ 0 w 446"/>
                  <a:gd name="T21" fmla="*/ 0 h 861"/>
                  <a:gd name="T22" fmla="*/ 0 w 446"/>
                  <a:gd name="T23" fmla="*/ 0 h 861"/>
                  <a:gd name="T24" fmla="*/ 0 w 446"/>
                  <a:gd name="T25" fmla="*/ 0 h 861"/>
                  <a:gd name="T26" fmla="*/ 0 w 446"/>
                  <a:gd name="T27" fmla="*/ 0 h 861"/>
                  <a:gd name="T28" fmla="*/ 0 w 446"/>
                  <a:gd name="T29" fmla="*/ 0 h 861"/>
                  <a:gd name="T30" fmla="*/ 0 w 446"/>
                  <a:gd name="T31" fmla="*/ 0 h 861"/>
                  <a:gd name="T32" fmla="*/ 0 w 446"/>
                  <a:gd name="T33" fmla="*/ 0 h 861"/>
                  <a:gd name="T34" fmla="*/ 0 w 446"/>
                  <a:gd name="T35" fmla="*/ 0 h 861"/>
                  <a:gd name="T36" fmla="*/ 0 w 446"/>
                  <a:gd name="T37" fmla="*/ 0 h 861"/>
                  <a:gd name="T38" fmla="*/ 0 w 446"/>
                  <a:gd name="T39" fmla="*/ 0 h 861"/>
                  <a:gd name="T40" fmla="*/ 0 w 446"/>
                  <a:gd name="T41" fmla="*/ 0 h 861"/>
                  <a:gd name="T42" fmla="*/ 0 w 446"/>
                  <a:gd name="T43" fmla="*/ 0 h 861"/>
                  <a:gd name="T44" fmla="*/ 0 w 446"/>
                  <a:gd name="T45" fmla="*/ 0 h 861"/>
                  <a:gd name="T46" fmla="*/ 0 w 446"/>
                  <a:gd name="T47" fmla="*/ 0 h 861"/>
                  <a:gd name="T48" fmla="*/ 0 w 446"/>
                  <a:gd name="T49" fmla="*/ 0 h 861"/>
                  <a:gd name="T50" fmla="*/ 0 w 446"/>
                  <a:gd name="T51" fmla="*/ 0 h 861"/>
                  <a:gd name="T52" fmla="*/ 0 w 446"/>
                  <a:gd name="T53" fmla="*/ 0 h 861"/>
                  <a:gd name="T54" fmla="*/ 0 w 446"/>
                  <a:gd name="T55" fmla="*/ 0 h 861"/>
                  <a:gd name="T56" fmla="*/ 0 w 446"/>
                  <a:gd name="T57" fmla="*/ 0 h 861"/>
                  <a:gd name="T58" fmla="*/ 0 w 446"/>
                  <a:gd name="T59" fmla="*/ 0 h 861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0" t="0" r="r" b="b"/>
                <a:pathLst>
                  <a:path w="446" h="861">
                    <a:moveTo>
                      <a:pt x="349" y="531"/>
                    </a:moveTo>
                    <a:cubicBezTo>
                      <a:pt x="334" y="547"/>
                      <a:pt x="322" y="558"/>
                      <a:pt x="313" y="565"/>
                    </a:cubicBezTo>
                    <a:cubicBezTo>
                      <a:pt x="283" y="586"/>
                      <a:pt x="246" y="597"/>
                      <a:pt x="201" y="597"/>
                    </a:cubicBezTo>
                    <a:cubicBezTo>
                      <a:pt x="150" y="597"/>
                      <a:pt x="109" y="583"/>
                      <a:pt x="76" y="555"/>
                    </a:cubicBezTo>
                    <a:cubicBezTo>
                      <a:pt x="25" y="513"/>
                      <a:pt x="0" y="436"/>
                      <a:pt x="0" y="325"/>
                    </a:cubicBezTo>
                    <a:cubicBezTo>
                      <a:pt x="0" y="235"/>
                      <a:pt x="18" y="162"/>
                      <a:pt x="55" y="103"/>
                    </a:cubicBezTo>
                    <a:cubicBezTo>
                      <a:pt x="99" y="35"/>
                      <a:pt x="169" y="0"/>
                      <a:pt x="267" y="0"/>
                    </a:cubicBezTo>
                    <a:cubicBezTo>
                      <a:pt x="324" y="0"/>
                      <a:pt x="384" y="8"/>
                      <a:pt x="446" y="23"/>
                    </a:cubicBezTo>
                    <a:cubicBezTo>
                      <a:pt x="446" y="471"/>
                      <a:pt x="446" y="471"/>
                      <a:pt x="446" y="471"/>
                    </a:cubicBezTo>
                    <a:cubicBezTo>
                      <a:pt x="446" y="554"/>
                      <a:pt x="442" y="617"/>
                      <a:pt x="435" y="661"/>
                    </a:cubicBezTo>
                    <a:cubicBezTo>
                      <a:pt x="422" y="740"/>
                      <a:pt x="387" y="794"/>
                      <a:pt x="330" y="824"/>
                    </a:cubicBezTo>
                    <a:cubicBezTo>
                      <a:pt x="284" y="849"/>
                      <a:pt x="224" y="861"/>
                      <a:pt x="149" y="861"/>
                    </a:cubicBezTo>
                    <a:cubicBezTo>
                      <a:pt x="129" y="861"/>
                      <a:pt x="104" y="859"/>
                      <a:pt x="77" y="856"/>
                    </a:cubicBezTo>
                    <a:cubicBezTo>
                      <a:pt x="77" y="798"/>
                      <a:pt x="77" y="798"/>
                      <a:pt x="77" y="798"/>
                    </a:cubicBezTo>
                    <a:cubicBezTo>
                      <a:pt x="102" y="801"/>
                      <a:pt x="126" y="802"/>
                      <a:pt x="149" y="802"/>
                    </a:cubicBezTo>
                    <a:cubicBezTo>
                      <a:pt x="202" y="802"/>
                      <a:pt x="241" y="796"/>
                      <a:pt x="267" y="781"/>
                    </a:cubicBezTo>
                    <a:cubicBezTo>
                      <a:pt x="305" y="761"/>
                      <a:pt x="330" y="725"/>
                      <a:pt x="340" y="673"/>
                    </a:cubicBezTo>
                    <a:cubicBezTo>
                      <a:pt x="346" y="643"/>
                      <a:pt x="349" y="606"/>
                      <a:pt x="349" y="562"/>
                    </a:cubicBezTo>
                    <a:lnTo>
                      <a:pt x="349" y="531"/>
                    </a:lnTo>
                    <a:close/>
                    <a:moveTo>
                      <a:pt x="349" y="64"/>
                    </a:moveTo>
                    <a:cubicBezTo>
                      <a:pt x="322" y="61"/>
                      <a:pt x="298" y="59"/>
                      <a:pt x="276" y="59"/>
                    </a:cubicBezTo>
                    <a:cubicBezTo>
                      <a:pt x="236" y="59"/>
                      <a:pt x="204" y="67"/>
                      <a:pt x="181" y="83"/>
                    </a:cubicBezTo>
                    <a:cubicBezTo>
                      <a:pt x="155" y="102"/>
                      <a:pt x="134" y="136"/>
                      <a:pt x="119" y="183"/>
                    </a:cubicBezTo>
                    <a:cubicBezTo>
                      <a:pt x="106" y="225"/>
                      <a:pt x="99" y="274"/>
                      <a:pt x="99" y="329"/>
                    </a:cubicBezTo>
                    <a:cubicBezTo>
                      <a:pt x="99" y="406"/>
                      <a:pt x="111" y="462"/>
                      <a:pt x="136" y="497"/>
                    </a:cubicBezTo>
                    <a:cubicBezTo>
                      <a:pt x="156" y="525"/>
                      <a:pt x="182" y="539"/>
                      <a:pt x="214" y="539"/>
                    </a:cubicBezTo>
                    <a:cubicBezTo>
                      <a:pt x="242" y="539"/>
                      <a:pt x="267" y="530"/>
                      <a:pt x="291" y="513"/>
                    </a:cubicBezTo>
                    <a:cubicBezTo>
                      <a:pt x="314" y="495"/>
                      <a:pt x="331" y="472"/>
                      <a:pt x="341" y="444"/>
                    </a:cubicBezTo>
                    <a:cubicBezTo>
                      <a:pt x="346" y="429"/>
                      <a:pt x="349" y="408"/>
                      <a:pt x="349" y="379"/>
                    </a:cubicBezTo>
                    <a:lnTo>
                      <a:pt x="349" y="6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 sz="1600"/>
              </a:p>
            </p:txBody>
          </p:sp>
          <p:sp>
            <p:nvSpPr>
              <p:cNvPr id="17" name="Freeform 82"/>
              <p:cNvSpPr>
                <a:spLocks/>
              </p:cNvSpPr>
              <p:nvPr/>
            </p:nvSpPr>
            <p:spPr bwMode="gray">
              <a:xfrm>
                <a:off x="2431" y="1922"/>
                <a:ext cx="50" cy="143"/>
              </a:xfrm>
              <a:custGeom>
                <a:avLst/>
                <a:gdLst>
                  <a:gd name="T0" fmla="*/ 0 w 249"/>
                  <a:gd name="T1" fmla="*/ 0 h 718"/>
                  <a:gd name="T2" fmla="*/ 0 w 249"/>
                  <a:gd name="T3" fmla="*/ 0 h 718"/>
                  <a:gd name="T4" fmla="*/ 0 w 249"/>
                  <a:gd name="T5" fmla="*/ 0 h 718"/>
                  <a:gd name="T6" fmla="*/ 0 w 249"/>
                  <a:gd name="T7" fmla="*/ 0 h 718"/>
                  <a:gd name="T8" fmla="*/ 0 w 249"/>
                  <a:gd name="T9" fmla="*/ 0 h 718"/>
                  <a:gd name="T10" fmla="*/ 0 w 249"/>
                  <a:gd name="T11" fmla="*/ 0 h 718"/>
                  <a:gd name="T12" fmla="*/ 0 w 249"/>
                  <a:gd name="T13" fmla="*/ 0 h 718"/>
                  <a:gd name="T14" fmla="*/ 0 w 249"/>
                  <a:gd name="T15" fmla="*/ 0 h 718"/>
                  <a:gd name="T16" fmla="*/ 0 w 249"/>
                  <a:gd name="T17" fmla="*/ 0 h 718"/>
                  <a:gd name="T18" fmla="*/ 0 w 249"/>
                  <a:gd name="T19" fmla="*/ 0 h 718"/>
                  <a:gd name="T20" fmla="*/ 0 w 249"/>
                  <a:gd name="T21" fmla="*/ 0 h 718"/>
                  <a:gd name="T22" fmla="*/ 0 w 249"/>
                  <a:gd name="T23" fmla="*/ 0 h 718"/>
                  <a:gd name="T24" fmla="*/ 0 w 249"/>
                  <a:gd name="T25" fmla="*/ 0 h 718"/>
                  <a:gd name="T26" fmla="*/ 0 w 249"/>
                  <a:gd name="T27" fmla="*/ 0 h 718"/>
                  <a:gd name="T28" fmla="*/ 0 w 249"/>
                  <a:gd name="T29" fmla="*/ 0 h 718"/>
                  <a:gd name="T30" fmla="*/ 0 w 249"/>
                  <a:gd name="T31" fmla="*/ 0 h 718"/>
                  <a:gd name="T32" fmla="*/ 0 w 249"/>
                  <a:gd name="T33" fmla="*/ 0 h 71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249" h="718">
                    <a:moveTo>
                      <a:pt x="0" y="0"/>
                    </a:moveTo>
                    <a:cubicBezTo>
                      <a:pt x="97" y="0"/>
                      <a:pt x="97" y="0"/>
                      <a:pt x="97" y="0"/>
                    </a:cubicBezTo>
                    <a:cubicBezTo>
                      <a:pt x="97" y="153"/>
                      <a:pt x="97" y="153"/>
                      <a:pt x="97" y="153"/>
                    </a:cubicBezTo>
                    <a:cubicBezTo>
                      <a:pt x="249" y="153"/>
                      <a:pt x="249" y="153"/>
                      <a:pt x="249" y="153"/>
                    </a:cubicBezTo>
                    <a:cubicBezTo>
                      <a:pt x="249" y="215"/>
                      <a:pt x="249" y="215"/>
                      <a:pt x="249" y="215"/>
                    </a:cubicBezTo>
                    <a:cubicBezTo>
                      <a:pt x="97" y="215"/>
                      <a:pt x="97" y="215"/>
                      <a:pt x="97" y="215"/>
                    </a:cubicBezTo>
                    <a:cubicBezTo>
                      <a:pt x="97" y="515"/>
                      <a:pt x="97" y="515"/>
                      <a:pt x="97" y="515"/>
                    </a:cubicBezTo>
                    <a:cubicBezTo>
                      <a:pt x="97" y="572"/>
                      <a:pt x="105" y="610"/>
                      <a:pt x="122" y="630"/>
                    </a:cubicBezTo>
                    <a:cubicBezTo>
                      <a:pt x="134" y="644"/>
                      <a:pt x="152" y="652"/>
                      <a:pt x="176" y="655"/>
                    </a:cubicBezTo>
                    <a:cubicBezTo>
                      <a:pt x="184" y="656"/>
                      <a:pt x="197" y="657"/>
                      <a:pt x="217" y="657"/>
                    </a:cubicBezTo>
                    <a:cubicBezTo>
                      <a:pt x="249" y="657"/>
                      <a:pt x="249" y="657"/>
                      <a:pt x="249" y="657"/>
                    </a:cubicBezTo>
                    <a:cubicBezTo>
                      <a:pt x="249" y="718"/>
                      <a:pt x="249" y="718"/>
                      <a:pt x="249" y="718"/>
                    </a:cubicBezTo>
                    <a:cubicBezTo>
                      <a:pt x="197" y="718"/>
                      <a:pt x="197" y="718"/>
                      <a:pt x="197" y="718"/>
                    </a:cubicBezTo>
                    <a:cubicBezTo>
                      <a:pt x="155" y="718"/>
                      <a:pt x="123" y="715"/>
                      <a:pt x="99" y="709"/>
                    </a:cubicBezTo>
                    <a:cubicBezTo>
                      <a:pt x="50" y="695"/>
                      <a:pt x="20" y="663"/>
                      <a:pt x="9" y="613"/>
                    </a:cubicBezTo>
                    <a:cubicBezTo>
                      <a:pt x="3" y="586"/>
                      <a:pt x="0" y="549"/>
                      <a:pt x="0" y="501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 sz="1600"/>
              </a:p>
            </p:txBody>
          </p:sp>
          <p:sp>
            <p:nvSpPr>
              <p:cNvPr id="18" name="Freeform 83"/>
              <p:cNvSpPr>
                <a:spLocks noEditPoints="1"/>
              </p:cNvSpPr>
              <p:nvPr/>
            </p:nvSpPr>
            <p:spPr bwMode="gray">
              <a:xfrm>
                <a:off x="2502" y="1949"/>
                <a:ext cx="95" cy="120"/>
              </a:xfrm>
              <a:custGeom>
                <a:avLst/>
                <a:gdLst>
                  <a:gd name="T0" fmla="*/ 0 w 476"/>
                  <a:gd name="T1" fmla="*/ 0 h 597"/>
                  <a:gd name="T2" fmla="*/ 0 w 476"/>
                  <a:gd name="T3" fmla="*/ 0 h 597"/>
                  <a:gd name="T4" fmla="*/ 0 w 476"/>
                  <a:gd name="T5" fmla="*/ 0 h 597"/>
                  <a:gd name="T6" fmla="*/ 0 w 476"/>
                  <a:gd name="T7" fmla="*/ 0 h 597"/>
                  <a:gd name="T8" fmla="*/ 0 w 476"/>
                  <a:gd name="T9" fmla="*/ 0 h 597"/>
                  <a:gd name="T10" fmla="*/ 0 w 476"/>
                  <a:gd name="T11" fmla="*/ 0 h 597"/>
                  <a:gd name="T12" fmla="*/ 0 w 476"/>
                  <a:gd name="T13" fmla="*/ 0 h 597"/>
                  <a:gd name="T14" fmla="*/ 0 w 476"/>
                  <a:gd name="T15" fmla="*/ 0 h 597"/>
                  <a:gd name="T16" fmla="*/ 0 w 476"/>
                  <a:gd name="T17" fmla="*/ 0 h 597"/>
                  <a:gd name="T18" fmla="*/ 0 w 476"/>
                  <a:gd name="T19" fmla="*/ 0 h 597"/>
                  <a:gd name="T20" fmla="*/ 0 w 476"/>
                  <a:gd name="T21" fmla="*/ 0 h 597"/>
                  <a:gd name="T22" fmla="*/ 0 w 476"/>
                  <a:gd name="T23" fmla="*/ 0 h 597"/>
                  <a:gd name="T24" fmla="*/ 0 w 476"/>
                  <a:gd name="T25" fmla="*/ 0 h 597"/>
                  <a:gd name="T26" fmla="*/ 0 w 476"/>
                  <a:gd name="T27" fmla="*/ 0 h 597"/>
                  <a:gd name="T28" fmla="*/ 0 w 476"/>
                  <a:gd name="T29" fmla="*/ 0 h 597"/>
                  <a:gd name="T30" fmla="*/ 0 w 476"/>
                  <a:gd name="T31" fmla="*/ 0 h 597"/>
                  <a:gd name="T32" fmla="*/ 0 w 476"/>
                  <a:gd name="T33" fmla="*/ 0 h 597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476" h="597">
                    <a:moveTo>
                      <a:pt x="238" y="0"/>
                    </a:moveTo>
                    <a:cubicBezTo>
                      <a:pt x="319" y="0"/>
                      <a:pt x="379" y="27"/>
                      <a:pt x="419" y="81"/>
                    </a:cubicBezTo>
                    <a:cubicBezTo>
                      <a:pt x="457" y="133"/>
                      <a:pt x="476" y="205"/>
                      <a:pt x="476" y="299"/>
                    </a:cubicBezTo>
                    <a:cubicBezTo>
                      <a:pt x="476" y="391"/>
                      <a:pt x="457" y="464"/>
                      <a:pt x="419" y="516"/>
                    </a:cubicBezTo>
                    <a:cubicBezTo>
                      <a:pt x="380" y="570"/>
                      <a:pt x="320" y="597"/>
                      <a:pt x="239" y="597"/>
                    </a:cubicBezTo>
                    <a:cubicBezTo>
                      <a:pt x="79" y="597"/>
                      <a:pt x="0" y="496"/>
                      <a:pt x="0" y="295"/>
                    </a:cubicBezTo>
                    <a:cubicBezTo>
                      <a:pt x="0" y="204"/>
                      <a:pt x="19" y="133"/>
                      <a:pt x="57" y="81"/>
                    </a:cubicBezTo>
                    <a:cubicBezTo>
                      <a:pt x="96" y="27"/>
                      <a:pt x="157" y="0"/>
                      <a:pt x="238" y="0"/>
                    </a:cubicBezTo>
                    <a:moveTo>
                      <a:pt x="238" y="59"/>
                    </a:moveTo>
                    <a:cubicBezTo>
                      <a:pt x="183" y="59"/>
                      <a:pt x="145" y="83"/>
                      <a:pt x="125" y="132"/>
                    </a:cubicBezTo>
                    <a:cubicBezTo>
                      <a:pt x="107" y="173"/>
                      <a:pt x="99" y="227"/>
                      <a:pt x="99" y="296"/>
                    </a:cubicBezTo>
                    <a:cubicBezTo>
                      <a:pt x="99" y="368"/>
                      <a:pt x="107" y="424"/>
                      <a:pt x="125" y="465"/>
                    </a:cubicBezTo>
                    <a:cubicBezTo>
                      <a:pt x="145" y="514"/>
                      <a:pt x="183" y="539"/>
                      <a:pt x="238" y="539"/>
                    </a:cubicBezTo>
                    <a:cubicBezTo>
                      <a:pt x="293" y="539"/>
                      <a:pt x="330" y="514"/>
                      <a:pt x="351" y="465"/>
                    </a:cubicBezTo>
                    <a:cubicBezTo>
                      <a:pt x="368" y="424"/>
                      <a:pt x="377" y="369"/>
                      <a:pt x="377" y="299"/>
                    </a:cubicBezTo>
                    <a:cubicBezTo>
                      <a:pt x="377" y="227"/>
                      <a:pt x="368" y="172"/>
                      <a:pt x="351" y="132"/>
                    </a:cubicBezTo>
                    <a:cubicBezTo>
                      <a:pt x="330" y="83"/>
                      <a:pt x="292" y="59"/>
                      <a:pt x="238" y="59"/>
                    </a:cubicBezTo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 sz="1600"/>
              </a:p>
            </p:txBody>
          </p:sp>
          <p:sp>
            <p:nvSpPr>
              <p:cNvPr id="19" name="Freeform 84"/>
              <p:cNvSpPr>
                <a:spLocks/>
              </p:cNvSpPr>
              <p:nvPr/>
            </p:nvSpPr>
            <p:spPr bwMode="gray">
              <a:xfrm>
                <a:off x="2625" y="1949"/>
                <a:ext cx="146" cy="116"/>
              </a:xfrm>
              <a:custGeom>
                <a:avLst/>
                <a:gdLst>
                  <a:gd name="T0" fmla="*/ 0 w 730"/>
                  <a:gd name="T1" fmla="*/ 0 h 581"/>
                  <a:gd name="T2" fmla="*/ 0 w 730"/>
                  <a:gd name="T3" fmla="*/ 0 h 581"/>
                  <a:gd name="T4" fmla="*/ 0 w 730"/>
                  <a:gd name="T5" fmla="*/ 0 h 581"/>
                  <a:gd name="T6" fmla="*/ 0 w 730"/>
                  <a:gd name="T7" fmla="*/ 0 h 581"/>
                  <a:gd name="T8" fmla="*/ 0 w 730"/>
                  <a:gd name="T9" fmla="*/ 0 h 581"/>
                  <a:gd name="T10" fmla="*/ 0 w 730"/>
                  <a:gd name="T11" fmla="*/ 0 h 581"/>
                  <a:gd name="T12" fmla="*/ 0 w 730"/>
                  <a:gd name="T13" fmla="*/ 0 h 581"/>
                  <a:gd name="T14" fmla="*/ 0 w 730"/>
                  <a:gd name="T15" fmla="*/ 0 h 581"/>
                  <a:gd name="T16" fmla="*/ 0 w 730"/>
                  <a:gd name="T17" fmla="*/ 0 h 581"/>
                  <a:gd name="T18" fmla="*/ 0 w 730"/>
                  <a:gd name="T19" fmla="*/ 0 h 581"/>
                  <a:gd name="T20" fmla="*/ 0 w 730"/>
                  <a:gd name="T21" fmla="*/ 0 h 581"/>
                  <a:gd name="T22" fmla="*/ 0 w 730"/>
                  <a:gd name="T23" fmla="*/ 0 h 581"/>
                  <a:gd name="T24" fmla="*/ 0 w 730"/>
                  <a:gd name="T25" fmla="*/ 0 h 581"/>
                  <a:gd name="T26" fmla="*/ 0 w 730"/>
                  <a:gd name="T27" fmla="*/ 0 h 581"/>
                  <a:gd name="T28" fmla="*/ 0 w 730"/>
                  <a:gd name="T29" fmla="*/ 0 h 581"/>
                  <a:gd name="T30" fmla="*/ 0 w 730"/>
                  <a:gd name="T31" fmla="*/ 0 h 581"/>
                  <a:gd name="T32" fmla="*/ 0 w 730"/>
                  <a:gd name="T33" fmla="*/ 0 h 581"/>
                  <a:gd name="T34" fmla="*/ 0 w 730"/>
                  <a:gd name="T35" fmla="*/ 0 h 581"/>
                  <a:gd name="T36" fmla="*/ 0 w 730"/>
                  <a:gd name="T37" fmla="*/ 0 h 581"/>
                  <a:gd name="T38" fmla="*/ 0 w 730"/>
                  <a:gd name="T39" fmla="*/ 0 h 581"/>
                  <a:gd name="T40" fmla="*/ 0 w 730"/>
                  <a:gd name="T41" fmla="*/ 0 h 581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730" h="581">
                    <a:moveTo>
                      <a:pt x="0" y="581"/>
                    </a:moveTo>
                    <a:cubicBezTo>
                      <a:pt x="0" y="23"/>
                      <a:pt x="0" y="23"/>
                      <a:pt x="0" y="23"/>
                    </a:cubicBezTo>
                    <a:cubicBezTo>
                      <a:pt x="88" y="8"/>
                      <a:pt x="158" y="0"/>
                      <a:pt x="209" y="0"/>
                    </a:cubicBezTo>
                    <a:cubicBezTo>
                      <a:pt x="276" y="0"/>
                      <a:pt x="326" y="12"/>
                      <a:pt x="360" y="37"/>
                    </a:cubicBezTo>
                    <a:cubicBezTo>
                      <a:pt x="421" y="12"/>
                      <a:pt x="481" y="0"/>
                      <a:pt x="541" y="0"/>
                    </a:cubicBezTo>
                    <a:cubicBezTo>
                      <a:pt x="632" y="0"/>
                      <a:pt x="690" y="30"/>
                      <a:pt x="714" y="90"/>
                    </a:cubicBezTo>
                    <a:cubicBezTo>
                      <a:pt x="725" y="118"/>
                      <a:pt x="730" y="166"/>
                      <a:pt x="730" y="234"/>
                    </a:cubicBezTo>
                    <a:cubicBezTo>
                      <a:pt x="730" y="581"/>
                      <a:pt x="730" y="581"/>
                      <a:pt x="730" y="581"/>
                    </a:cubicBezTo>
                    <a:cubicBezTo>
                      <a:pt x="634" y="581"/>
                      <a:pt x="634" y="581"/>
                      <a:pt x="634" y="581"/>
                    </a:cubicBezTo>
                    <a:cubicBezTo>
                      <a:pt x="634" y="240"/>
                      <a:pt x="634" y="240"/>
                      <a:pt x="634" y="240"/>
                    </a:cubicBezTo>
                    <a:cubicBezTo>
                      <a:pt x="634" y="174"/>
                      <a:pt x="628" y="129"/>
                      <a:pt x="618" y="106"/>
                    </a:cubicBezTo>
                    <a:cubicBezTo>
                      <a:pt x="604" y="75"/>
                      <a:pt x="574" y="59"/>
                      <a:pt x="528" y="59"/>
                    </a:cubicBezTo>
                    <a:cubicBezTo>
                      <a:pt x="491" y="59"/>
                      <a:pt x="452" y="68"/>
                      <a:pt x="413" y="85"/>
                    </a:cubicBezTo>
                    <a:cubicBezTo>
                      <a:pt x="413" y="581"/>
                      <a:pt x="413" y="581"/>
                      <a:pt x="413" y="581"/>
                    </a:cubicBezTo>
                    <a:cubicBezTo>
                      <a:pt x="317" y="581"/>
                      <a:pt x="317" y="581"/>
                      <a:pt x="317" y="581"/>
                    </a:cubicBezTo>
                    <a:cubicBezTo>
                      <a:pt x="317" y="236"/>
                      <a:pt x="317" y="236"/>
                      <a:pt x="317" y="236"/>
                    </a:cubicBezTo>
                    <a:cubicBezTo>
                      <a:pt x="317" y="172"/>
                      <a:pt x="312" y="129"/>
                      <a:pt x="301" y="106"/>
                    </a:cubicBezTo>
                    <a:cubicBezTo>
                      <a:pt x="286" y="75"/>
                      <a:pt x="255" y="59"/>
                      <a:pt x="209" y="59"/>
                    </a:cubicBezTo>
                    <a:cubicBezTo>
                      <a:pt x="173" y="59"/>
                      <a:pt x="135" y="63"/>
                      <a:pt x="96" y="71"/>
                    </a:cubicBezTo>
                    <a:cubicBezTo>
                      <a:pt x="96" y="581"/>
                      <a:pt x="96" y="581"/>
                      <a:pt x="96" y="581"/>
                    </a:cubicBezTo>
                    <a:lnTo>
                      <a:pt x="0" y="58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 sz="1600"/>
              </a:p>
            </p:txBody>
          </p:sp>
          <p:sp>
            <p:nvSpPr>
              <p:cNvPr id="20" name="Freeform 85"/>
              <p:cNvSpPr>
                <a:spLocks noEditPoints="1"/>
              </p:cNvSpPr>
              <p:nvPr/>
            </p:nvSpPr>
            <p:spPr bwMode="gray">
              <a:xfrm>
                <a:off x="2797" y="1949"/>
                <a:ext cx="95" cy="120"/>
              </a:xfrm>
              <a:custGeom>
                <a:avLst/>
                <a:gdLst>
                  <a:gd name="T0" fmla="*/ 0 w 475"/>
                  <a:gd name="T1" fmla="*/ 0 h 597"/>
                  <a:gd name="T2" fmla="*/ 0 w 475"/>
                  <a:gd name="T3" fmla="*/ 0 h 597"/>
                  <a:gd name="T4" fmla="*/ 0 w 475"/>
                  <a:gd name="T5" fmla="*/ 0 h 597"/>
                  <a:gd name="T6" fmla="*/ 0 w 475"/>
                  <a:gd name="T7" fmla="*/ 0 h 597"/>
                  <a:gd name="T8" fmla="*/ 0 w 475"/>
                  <a:gd name="T9" fmla="*/ 0 h 597"/>
                  <a:gd name="T10" fmla="*/ 0 w 475"/>
                  <a:gd name="T11" fmla="*/ 0 h 597"/>
                  <a:gd name="T12" fmla="*/ 0 w 475"/>
                  <a:gd name="T13" fmla="*/ 0 h 597"/>
                  <a:gd name="T14" fmla="*/ 0 w 475"/>
                  <a:gd name="T15" fmla="*/ 0 h 597"/>
                  <a:gd name="T16" fmla="*/ 0 w 475"/>
                  <a:gd name="T17" fmla="*/ 0 h 597"/>
                  <a:gd name="T18" fmla="*/ 0 w 475"/>
                  <a:gd name="T19" fmla="*/ 0 h 597"/>
                  <a:gd name="T20" fmla="*/ 0 w 475"/>
                  <a:gd name="T21" fmla="*/ 0 h 597"/>
                  <a:gd name="T22" fmla="*/ 0 w 475"/>
                  <a:gd name="T23" fmla="*/ 0 h 597"/>
                  <a:gd name="T24" fmla="*/ 0 w 475"/>
                  <a:gd name="T25" fmla="*/ 0 h 597"/>
                  <a:gd name="T26" fmla="*/ 0 w 475"/>
                  <a:gd name="T27" fmla="*/ 0 h 597"/>
                  <a:gd name="T28" fmla="*/ 0 w 475"/>
                  <a:gd name="T29" fmla="*/ 0 h 597"/>
                  <a:gd name="T30" fmla="*/ 0 w 475"/>
                  <a:gd name="T31" fmla="*/ 0 h 597"/>
                  <a:gd name="T32" fmla="*/ 0 w 475"/>
                  <a:gd name="T33" fmla="*/ 0 h 597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475" h="597">
                    <a:moveTo>
                      <a:pt x="238" y="0"/>
                    </a:moveTo>
                    <a:cubicBezTo>
                      <a:pt x="319" y="0"/>
                      <a:pt x="379" y="27"/>
                      <a:pt x="418" y="81"/>
                    </a:cubicBezTo>
                    <a:cubicBezTo>
                      <a:pt x="456" y="133"/>
                      <a:pt x="475" y="205"/>
                      <a:pt x="475" y="299"/>
                    </a:cubicBezTo>
                    <a:cubicBezTo>
                      <a:pt x="475" y="391"/>
                      <a:pt x="456" y="464"/>
                      <a:pt x="418" y="516"/>
                    </a:cubicBezTo>
                    <a:cubicBezTo>
                      <a:pt x="379" y="570"/>
                      <a:pt x="319" y="597"/>
                      <a:pt x="238" y="597"/>
                    </a:cubicBezTo>
                    <a:cubicBezTo>
                      <a:pt x="79" y="597"/>
                      <a:pt x="0" y="496"/>
                      <a:pt x="0" y="295"/>
                    </a:cubicBezTo>
                    <a:cubicBezTo>
                      <a:pt x="0" y="204"/>
                      <a:pt x="19" y="133"/>
                      <a:pt x="57" y="81"/>
                    </a:cubicBezTo>
                    <a:cubicBezTo>
                      <a:pt x="96" y="27"/>
                      <a:pt x="156" y="0"/>
                      <a:pt x="238" y="0"/>
                    </a:cubicBezTo>
                    <a:moveTo>
                      <a:pt x="238" y="59"/>
                    </a:moveTo>
                    <a:cubicBezTo>
                      <a:pt x="183" y="59"/>
                      <a:pt x="145" y="83"/>
                      <a:pt x="124" y="132"/>
                    </a:cubicBezTo>
                    <a:cubicBezTo>
                      <a:pt x="107" y="173"/>
                      <a:pt x="98" y="227"/>
                      <a:pt x="98" y="296"/>
                    </a:cubicBezTo>
                    <a:cubicBezTo>
                      <a:pt x="98" y="368"/>
                      <a:pt x="107" y="424"/>
                      <a:pt x="124" y="465"/>
                    </a:cubicBezTo>
                    <a:cubicBezTo>
                      <a:pt x="145" y="514"/>
                      <a:pt x="183" y="539"/>
                      <a:pt x="238" y="539"/>
                    </a:cubicBezTo>
                    <a:cubicBezTo>
                      <a:pt x="292" y="539"/>
                      <a:pt x="330" y="514"/>
                      <a:pt x="350" y="465"/>
                    </a:cubicBezTo>
                    <a:cubicBezTo>
                      <a:pt x="368" y="424"/>
                      <a:pt x="376" y="369"/>
                      <a:pt x="376" y="299"/>
                    </a:cubicBezTo>
                    <a:cubicBezTo>
                      <a:pt x="376" y="227"/>
                      <a:pt x="368" y="172"/>
                      <a:pt x="350" y="132"/>
                    </a:cubicBezTo>
                    <a:cubicBezTo>
                      <a:pt x="329" y="83"/>
                      <a:pt x="292" y="59"/>
                      <a:pt x="238" y="59"/>
                    </a:cubicBezTo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 sz="1600"/>
              </a:p>
            </p:txBody>
          </p:sp>
          <p:sp>
            <p:nvSpPr>
              <p:cNvPr id="21" name="Freeform 86"/>
              <p:cNvSpPr>
                <a:spLocks/>
              </p:cNvSpPr>
              <p:nvPr/>
            </p:nvSpPr>
            <p:spPr bwMode="gray">
              <a:xfrm>
                <a:off x="2922" y="1949"/>
                <a:ext cx="49" cy="116"/>
              </a:xfrm>
              <a:custGeom>
                <a:avLst/>
                <a:gdLst>
                  <a:gd name="T0" fmla="*/ 0 w 244"/>
                  <a:gd name="T1" fmla="*/ 0 h 581"/>
                  <a:gd name="T2" fmla="*/ 0 w 244"/>
                  <a:gd name="T3" fmla="*/ 0 h 581"/>
                  <a:gd name="T4" fmla="*/ 0 w 244"/>
                  <a:gd name="T5" fmla="*/ 0 h 581"/>
                  <a:gd name="T6" fmla="*/ 0 w 244"/>
                  <a:gd name="T7" fmla="*/ 0 h 581"/>
                  <a:gd name="T8" fmla="*/ 0 w 244"/>
                  <a:gd name="T9" fmla="*/ 0 h 581"/>
                  <a:gd name="T10" fmla="*/ 0 w 244"/>
                  <a:gd name="T11" fmla="*/ 0 h 581"/>
                  <a:gd name="T12" fmla="*/ 0 w 244"/>
                  <a:gd name="T13" fmla="*/ 0 h 581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44" h="581">
                    <a:moveTo>
                      <a:pt x="0" y="581"/>
                    </a:moveTo>
                    <a:cubicBezTo>
                      <a:pt x="0" y="25"/>
                      <a:pt x="0" y="25"/>
                      <a:pt x="0" y="25"/>
                    </a:cubicBezTo>
                    <a:cubicBezTo>
                      <a:pt x="74" y="9"/>
                      <a:pt x="155" y="1"/>
                      <a:pt x="244" y="0"/>
                    </a:cubicBezTo>
                    <a:cubicBezTo>
                      <a:pt x="244" y="61"/>
                      <a:pt x="244" y="61"/>
                      <a:pt x="244" y="61"/>
                    </a:cubicBezTo>
                    <a:cubicBezTo>
                      <a:pt x="190" y="61"/>
                      <a:pt x="141" y="65"/>
                      <a:pt x="97" y="71"/>
                    </a:cubicBezTo>
                    <a:cubicBezTo>
                      <a:pt x="97" y="581"/>
                      <a:pt x="97" y="581"/>
                      <a:pt x="97" y="581"/>
                    </a:cubicBezTo>
                    <a:lnTo>
                      <a:pt x="0" y="58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 sz="1600"/>
              </a:p>
            </p:txBody>
          </p:sp>
          <p:sp>
            <p:nvSpPr>
              <p:cNvPr id="22" name="Freeform 87"/>
              <p:cNvSpPr>
                <a:spLocks/>
              </p:cNvSpPr>
              <p:nvPr/>
            </p:nvSpPr>
            <p:spPr bwMode="gray">
              <a:xfrm>
                <a:off x="2992" y="1949"/>
                <a:ext cx="49" cy="116"/>
              </a:xfrm>
              <a:custGeom>
                <a:avLst/>
                <a:gdLst>
                  <a:gd name="T0" fmla="*/ 0 w 244"/>
                  <a:gd name="T1" fmla="*/ 0 h 581"/>
                  <a:gd name="T2" fmla="*/ 0 w 244"/>
                  <a:gd name="T3" fmla="*/ 0 h 581"/>
                  <a:gd name="T4" fmla="*/ 0 w 244"/>
                  <a:gd name="T5" fmla="*/ 0 h 581"/>
                  <a:gd name="T6" fmla="*/ 0 w 244"/>
                  <a:gd name="T7" fmla="*/ 0 h 581"/>
                  <a:gd name="T8" fmla="*/ 0 w 244"/>
                  <a:gd name="T9" fmla="*/ 0 h 581"/>
                  <a:gd name="T10" fmla="*/ 0 w 244"/>
                  <a:gd name="T11" fmla="*/ 0 h 581"/>
                  <a:gd name="T12" fmla="*/ 0 w 244"/>
                  <a:gd name="T13" fmla="*/ 0 h 581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44" h="581">
                    <a:moveTo>
                      <a:pt x="0" y="581"/>
                    </a:moveTo>
                    <a:cubicBezTo>
                      <a:pt x="0" y="25"/>
                      <a:pt x="0" y="25"/>
                      <a:pt x="0" y="25"/>
                    </a:cubicBezTo>
                    <a:cubicBezTo>
                      <a:pt x="74" y="9"/>
                      <a:pt x="155" y="1"/>
                      <a:pt x="244" y="0"/>
                    </a:cubicBezTo>
                    <a:cubicBezTo>
                      <a:pt x="244" y="61"/>
                      <a:pt x="244" y="61"/>
                      <a:pt x="244" y="61"/>
                    </a:cubicBezTo>
                    <a:cubicBezTo>
                      <a:pt x="190" y="61"/>
                      <a:pt x="140" y="65"/>
                      <a:pt x="97" y="71"/>
                    </a:cubicBezTo>
                    <a:cubicBezTo>
                      <a:pt x="97" y="581"/>
                      <a:pt x="97" y="581"/>
                      <a:pt x="97" y="581"/>
                    </a:cubicBezTo>
                    <a:lnTo>
                      <a:pt x="0" y="58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 sz="1600"/>
              </a:p>
            </p:txBody>
          </p:sp>
          <p:sp>
            <p:nvSpPr>
              <p:cNvPr id="23" name="Freeform 88"/>
              <p:cNvSpPr>
                <a:spLocks noEditPoints="1"/>
              </p:cNvSpPr>
              <p:nvPr/>
            </p:nvSpPr>
            <p:spPr bwMode="gray">
              <a:xfrm>
                <a:off x="3054" y="1949"/>
                <a:ext cx="95" cy="120"/>
              </a:xfrm>
              <a:custGeom>
                <a:avLst/>
                <a:gdLst>
                  <a:gd name="T0" fmla="*/ 0 w 476"/>
                  <a:gd name="T1" fmla="*/ 0 h 597"/>
                  <a:gd name="T2" fmla="*/ 0 w 476"/>
                  <a:gd name="T3" fmla="*/ 0 h 597"/>
                  <a:gd name="T4" fmla="*/ 0 w 476"/>
                  <a:gd name="T5" fmla="*/ 0 h 597"/>
                  <a:gd name="T6" fmla="*/ 0 w 476"/>
                  <a:gd name="T7" fmla="*/ 0 h 597"/>
                  <a:gd name="T8" fmla="*/ 0 w 476"/>
                  <a:gd name="T9" fmla="*/ 0 h 597"/>
                  <a:gd name="T10" fmla="*/ 0 w 476"/>
                  <a:gd name="T11" fmla="*/ 0 h 597"/>
                  <a:gd name="T12" fmla="*/ 0 w 476"/>
                  <a:gd name="T13" fmla="*/ 0 h 597"/>
                  <a:gd name="T14" fmla="*/ 0 w 476"/>
                  <a:gd name="T15" fmla="*/ 0 h 597"/>
                  <a:gd name="T16" fmla="*/ 0 w 476"/>
                  <a:gd name="T17" fmla="*/ 0 h 597"/>
                  <a:gd name="T18" fmla="*/ 0 w 476"/>
                  <a:gd name="T19" fmla="*/ 0 h 597"/>
                  <a:gd name="T20" fmla="*/ 0 w 476"/>
                  <a:gd name="T21" fmla="*/ 0 h 597"/>
                  <a:gd name="T22" fmla="*/ 0 w 476"/>
                  <a:gd name="T23" fmla="*/ 0 h 597"/>
                  <a:gd name="T24" fmla="*/ 0 w 476"/>
                  <a:gd name="T25" fmla="*/ 0 h 597"/>
                  <a:gd name="T26" fmla="*/ 0 w 476"/>
                  <a:gd name="T27" fmla="*/ 0 h 597"/>
                  <a:gd name="T28" fmla="*/ 0 w 476"/>
                  <a:gd name="T29" fmla="*/ 0 h 597"/>
                  <a:gd name="T30" fmla="*/ 0 w 476"/>
                  <a:gd name="T31" fmla="*/ 0 h 597"/>
                  <a:gd name="T32" fmla="*/ 0 w 476"/>
                  <a:gd name="T33" fmla="*/ 0 h 597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476" h="597">
                    <a:moveTo>
                      <a:pt x="238" y="0"/>
                    </a:moveTo>
                    <a:cubicBezTo>
                      <a:pt x="319" y="0"/>
                      <a:pt x="379" y="27"/>
                      <a:pt x="419" y="81"/>
                    </a:cubicBezTo>
                    <a:cubicBezTo>
                      <a:pt x="457" y="133"/>
                      <a:pt x="476" y="205"/>
                      <a:pt x="476" y="299"/>
                    </a:cubicBezTo>
                    <a:cubicBezTo>
                      <a:pt x="476" y="391"/>
                      <a:pt x="457" y="464"/>
                      <a:pt x="419" y="516"/>
                    </a:cubicBezTo>
                    <a:cubicBezTo>
                      <a:pt x="380" y="570"/>
                      <a:pt x="320" y="597"/>
                      <a:pt x="239" y="597"/>
                    </a:cubicBezTo>
                    <a:cubicBezTo>
                      <a:pt x="80" y="597"/>
                      <a:pt x="0" y="496"/>
                      <a:pt x="0" y="295"/>
                    </a:cubicBezTo>
                    <a:cubicBezTo>
                      <a:pt x="0" y="204"/>
                      <a:pt x="19" y="133"/>
                      <a:pt x="57" y="81"/>
                    </a:cubicBezTo>
                    <a:cubicBezTo>
                      <a:pt x="97" y="27"/>
                      <a:pt x="157" y="0"/>
                      <a:pt x="238" y="0"/>
                    </a:cubicBezTo>
                    <a:moveTo>
                      <a:pt x="238" y="59"/>
                    </a:moveTo>
                    <a:cubicBezTo>
                      <a:pt x="184" y="59"/>
                      <a:pt x="146" y="83"/>
                      <a:pt x="125" y="132"/>
                    </a:cubicBezTo>
                    <a:cubicBezTo>
                      <a:pt x="108" y="173"/>
                      <a:pt x="99" y="227"/>
                      <a:pt x="99" y="296"/>
                    </a:cubicBezTo>
                    <a:cubicBezTo>
                      <a:pt x="99" y="368"/>
                      <a:pt x="108" y="424"/>
                      <a:pt x="125" y="465"/>
                    </a:cubicBezTo>
                    <a:cubicBezTo>
                      <a:pt x="146" y="514"/>
                      <a:pt x="184" y="539"/>
                      <a:pt x="238" y="539"/>
                    </a:cubicBezTo>
                    <a:cubicBezTo>
                      <a:pt x="293" y="539"/>
                      <a:pt x="331" y="514"/>
                      <a:pt x="351" y="465"/>
                    </a:cubicBezTo>
                    <a:cubicBezTo>
                      <a:pt x="368" y="424"/>
                      <a:pt x="377" y="369"/>
                      <a:pt x="377" y="299"/>
                    </a:cubicBezTo>
                    <a:cubicBezTo>
                      <a:pt x="377" y="227"/>
                      <a:pt x="368" y="172"/>
                      <a:pt x="351" y="132"/>
                    </a:cubicBezTo>
                    <a:cubicBezTo>
                      <a:pt x="330" y="83"/>
                      <a:pt x="293" y="59"/>
                      <a:pt x="238" y="59"/>
                    </a:cubicBezTo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 sz="1600"/>
              </a:p>
            </p:txBody>
          </p:sp>
          <p:sp>
            <p:nvSpPr>
              <p:cNvPr id="24" name="Freeform 89"/>
              <p:cNvSpPr>
                <a:spLocks/>
              </p:cNvSpPr>
              <p:nvPr/>
            </p:nvSpPr>
            <p:spPr bwMode="gray">
              <a:xfrm>
                <a:off x="3162" y="1952"/>
                <a:ext cx="145" cy="113"/>
              </a:xfrm>
              <a:custGeom>
                <a:avLst/>
                <a:gdLst>
                  <a:gd name="T0" fmla="*/ 0 w 728"/>
                  <a:gd name="T1" fmla="*/ 0 h 565"/>
                  <a:gd name="T2" fmla="*/ 0 w 728"/>
                  <a:gd name="T3" fmla="*/ 0 h 565"/>
                  <a:gd name="T4" fmla="*/ 0 w 728"/>
                  <a:gd name="T5" fmla="*/ 0 h 565"/>
                  <a:gd name="T6" fmla="*/ 0 w 728"/>
                  <a:gd name="T7" fmla="*/ 0 h 565"/>
                  <a:gd name="T8" fmla="*/ 0 w 728"/>
                  <a:gd name="T9" fmla="*/ 0 h 565"/>
                  <a:gd name="T10" fmla="*/ 0 w 728"/>
                  <a:gd name="T11" fmla="*/ 0 h 565"/>
                  <a:gd name="T12" fmla="*/ 0 w 728"/>
                  <a:gd name="T13" fmla="*/ 0 h 565"/>
                  <a:gd name="T14" fmla="*/ 0 w 728"/>
                  <a:gd name="T15" fmla="*/ 0 h 565"/>
                  <a:gd name="T16" fmla="*/ 0 w 728"/>
                  <a:gd name="T17" fmla="*/ 0 h 565"/>
                  <a:gd name="T18" fmla="*/ 0 w 728"/>
                  <a:gd name="T19" fmla="*/ 0 h 565"/>
                  <a:gd name="T20" fmla="*/ 0 w 728"/>
                  <a:gd name="T21" fmla="*/ 0 h 565"/>
                  <a:gd name="T22" fmla="*/ 0 w 728"/>
                  <a:gd name="T23" fmla="*/ 0 h 565"/>
                  <a:gd name="T24" fmla="*/ 0 w 728"/>
                  <a:gd name="T25" fmla="*/ 0 h 565"/>
                  <a:gd name="T26" fmla="*/ 0 w 728"/>
                  <a:gd name="T27" fmla="*/ 0 h 565"/>
                  <a:gd name="T28" fmla="*/ 0 w 728"/>
                  <a:gd name="T29" fmla="*/ 0 h 565"/>
                  <a:gd name="T30" fmla="*/ 0 w 728"/>
                  <a:gd name="T31" fmla="*/ 0 h 565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728" h="565">
                    <a:moveTo>
                      <a:pt x="159" y="565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97" y="0"/>
                      <a:pt x="97" y="0"/>
                      <a:pt x="97" y="0"/>
                    </a:cubicBezTo>
                    <a:cubicBezTo>
                      <a:pt x="217" y="461"/>
                      <a:pt x="217" y="461"/>
                      <a:pt x="217" y="461"/>
                    </a:cubicBezTo>
                    <a:cubicBezTo>
                      <a:pt x="323" y="0"/>
                      <a:pt x="323" y="0"/>
                      <a:pt x="323" y="0"/>
                    </a:cubicBezTo>
                    <a:cubicBezTo>
                      <a:pt x="418" y="0"/>
                      <a:pt x="418" y="0"/>
                      <a:pt x="418" y="0"/>
                    </a:cubicBezTo>
                    <a:cubicBezTo>
                      <a:pt x="529" y="461"/>
                      <a:pt x="529" y="461"/>
                      <a:pt x="529" y="461"/>
                    </a:cubicBezTo>
                    <a:cubicBezTo>
                      <a:pt x="649" y="0"/>
                      <a:pt x="649" y="0"/>
                      <a:pt x="649" y="0"/>
                    </a:cubicBezTo>
                    <a:cubicBezTo>
                      <a:pt x="728" y="0"/>
                      <a:pt x="728" y="0"/>
                      <a:pt x="728" y="0"/>
                    </a:cubicBezTo>
                    <a:cubicBezTo>
                      <a:pt x="568" y="565"/>
                      <a:pt x="568" y="565"/>
                      <a:pt x="568" y="565"/>
                    </a:cubicBezTo>
                    <a:cubicBezTo>
                      <a:pt x="472" y="565"/>
                      <a:pt x="472" y="565"/>
                      <a:pt x="472" y="565"/>
                    </a:cubicBezTo>
                    <a:cubicBezTo>
                      <a:pt x="388" y="199"/>
                      <a:pt x="388" y="199"/>
                      <a:pt x="388" y="199"/>
                    </a:cubicBezTo>
                    <a:cubicBezTo>
                      <a:pt x="381" y="173"/>
                      <a:pt x="374" y="135"/>
                      <a:pt x="366" y="84"/>
                    </a:cubicBezTo>
                    <a:cubicBezTo>
                      <a:pt x="360" y="125"/>
                      <a:pt x="353" y="163"/>
                      <a:pt x="345" y="199"/>
                    </a:cubicBezTo>
                    <a:cubicBezTo>
                      <a:pt x="260" y="565"/>
                      <a:pt x="260" y="565"/>
                      <a:pt x="260" y="565"/>
                    </a:cubicBezTo>
                    <a:lnTo>
                      <a:pt x="159" y="56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 sz="1600"/>
              </a:p>
            </p:txBody>
          </p:sp>
          <p:sp>
            <p:nvSpPr>
              <p:cNvPr id="25" name="Freeform 90"/>
              <p:cNvSpPr>
                <a:spLocks/>
              </p:cNvSpPr>
              <p:nvPr/>
            </p:nvSpPr>
            <p:spPr bwMode="gray">
              <a:xfrm>
                <a:off x="3365" y="1952"/>
                <a:ext cx="146" cy="113"/>
              </a:xfrm>
              <a:custGeom>
                <a:avLst/>
                <a:gdLst>
                  <a:gd name="T0" fmla="*/ 0 w 728"/>
                  <a:gd name="T1" fmla="*/ 0 h 565"/>
                  <a:gd name="T2" fmla="*/ 0 w 728"/>
                  <a:gd name="T3" fmla="*/ 0 h 565"/>
                  <a:gd name="T4" fmla="*/ 0 w 728"/>
                  <a:gd name="T5" fmla="*/ 0 h 565"/>
                  <a:gd name="T6" fmla="*/ 0 w 728"/>
                  <a:gd name="T7" fmla="*/ 0 h 565"/>
                  <a:gd name="T8" fmla="*/ 0 w 728"/>
                  <a:gd name="T9" fmla="*/ 0 h 565"/>
                  <a:gd name="T10" fmla="*/ 0 w 728"/>
                  <a:gd name="T11" fmla="*/ 0 h 565"/>
                  <a:gd name="T12" fmla="*/ 0 w 728"/>
                  <a:gd name="T13" fmla="*/ 0 h 565"/>
                  <a:gd name="T14" fmla="*/ 0 w 728"/>
                  <a:gd name="T15" fmla="*/ 0 h 565"/>
                  <a:gd name="T16" fmla="*/ 0 w 728"/>
                  <a:gd name="T17" fmla="*/ 0 h 565"/>
                  <a:gd name="T18" fmla="*/ 0 w 728"/>
                  <a:gd name="T19" fmla="*/ 0 h 565"/>
                  <a:gd name="T20" fmla="*/ 0 w 728"/>
                  <a:gd name="T21" fmla="*/ 0 h 565"/>
                  <a:gd name="T22" fmla="*/ 0 w 728"/>
                  <a:gd name="T23" fmla="*/ 0 h 565"/>
                  <a:gd name="T24" fmla="*/ 0 w 728"/>
                  <a:gd name="T25" fmla="*/ 0 h 565"/>
                  <a:gd name="T26" fmla="*/ 0 w 728"/>
                  <a:gd name="T27" fmla="*/ 0 h 565"/>
                  <a:gd name="T28" fmla="*/ 0 w 728"/>
                  <a:gd name="T29" fmla="*/ 0 h 565"/>
                  <a:gd name="T30" fmla="*/ 0 w 728"/>
                  <a:gd name="T31" fmla="*/ 0 h 565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728" h="565">
                    <a:moveTo>
                      <a:pt x="160" y="565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98" y="0"/>
                      <a:pt x="98" y="0"/>
                      <a:pt x="98" y="0"/>
                    </a:cubicBezTo>
                    <a:cubicBezTo>
                      <a:pt x="217" y="461"/>
                      <a:pt x="217" y="461"/>
                      <a:pt x="217" y="461"/>
                    </a:cubicBezTo>
                    <a:cubicBezTo>
                      <a:pt x="323" y="0"/>
                      <a:pt x="323" y="0"/>
                      <a:pt x="323" y="0"/>
                    </a:cubicBezTo>
                    <a:cubicBezTo>
                      <a:pt x="419" y="0"/>
                      <a:pt x="419" y="0"/>
                      <a:pt x="419" y="0"/>
                    </a:cubicBezTo>
                    <a:cubicBezTo>
                      <a:pt x="530" y="461"/>
                      <a:pt x="530" y="461"/>
                      <a:pt x="530" y="461"/>
                    </a:cubicBezTo>
                    <a:cubicBezTo>
                      <a:pt x="650" y="0"/>
                      <a:pt x="650" y="0"/>
                      <a:pt x="650" y="0"/>
                    </a:cubicBezTo>
                    <a:cubicBezTo>
                      <a:pt x="728" y="0"/>
                      <a:pt x="728" y="0"/>
                      <a:pt x="728" y="0"/>
                    </a:cubicBezTo>
                    <a:cubicBezTo>
                      <a:pt x="569" y="565"/>
                      <a:pt x="569" y="565"/>
                      <a:pt x="569" y="565"/>
                    </a:cubicBezTo>
                    <a:cubicBezTo>
                      <a:pt x="473" y="565"/>
                      <a:pt x="473" y="565"/>
                      <a:pt x="473" y="565"/>
                    </a:cubicBezTo>
                    <a:cubicBezTo>
                      <a:pt x="388" y="199"/>
                      <a:pt x="388" y="199"/>
                      <a:pt x="388" y="199"/>
                    </a:cubicBezTo>
                    <a:cubicBezTo>
                      <a:pt x="382" y="173"/>
                      <a:pt x="375" y="135"/>
                      <a:pt x="367" y="84"/>
                    </a:cubicBezTo>
                    <a:cubicBezTo>
                      <a:pt x="361" y="125"/>
                      <a:pt x="354" y="163"/>
                      <a:pt x="345" y="199"/>
                    </a:cubicBezTo>
                    <a:cubicBezTo>
                      <a:pt x="261" y="565"/>
                      <a:pt x="261" y="565"/>
                      <a:pt x="261" y="565"/>
                    </a:cubicBezTo>
                    <a:lnTo>
                      <a:pt x="160" y="56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 sz="1600"/>
              </a:p>
            </p:txBody>
          </p:sp>
          <p:sp>
            <p:nvSpPr>
              <p:cNvPr id="26" name="Freeform 91"/>
              <p:cNvSpPr>
                <a:spLocks noEditPoints="1"/>
              </p:cNvSpPr>
              <p:nvPr/>
            </p:nvSpPr>
            <p:spPr bwMode="gray">
              <a:xfrm>
                <a:off x="3530" y="1911"/>
                <a:ext cx="24" cy="154"/>
              </a:xfrm>
              <a:custGeom>
                <a:avLst/>
                <a:gdLst>
                  <a:gd name="T0" fmla="*/ 0 w 118"/>
                  <a:gd name="T1" fmla="*/ 0 h 772"/>
                  <a:gd name="T2" fmla="*/ 0 w 118"/>
                  <a:gd name="T3" fmla="*/ 0 h 772"/>
                  <a:gd name="T4" fmla="*/ 0 w 118"/>
                  <a:gd name="T5" fmla="*/ 0 h 772"/>
                  <a:gd name="T6" fmla="*/ 0 w 118"/>
                  <a:gd name="T7" fmla="*/ 0 h 772"/>
                  <a:gd name="T8" fmla="*/ 0 w 118"/>
                  <a:gd name="T9" fmla="*/ 0 h 772"/>
                  <a:gd name="T10" fmla="*/ 0 w 118"/>
                  <a:gd name="T11" fmla="*/ 0 h 772"/>
                  <a:gd name="T12" fmla="*/ 0 w 118"/>
                  <a:gd name="T13" fmla="*/ 0 h 772"/>
                  <a:gd name="T14" fmla="*/ 0 w 118"/>
                  <a:gd name="T15" fmla="*/ 0 h 772"/>
                  <a:gd name="T16" fmla="*/ 0 w 118"/>
                  <a:gd name="T17" fmla="*/ 0 h 772"/>
                  <a:gd name="T18" fmla="*/ 0 w 118"/>
                  <a:gd name="T19" fmla="*/ 0 h 772"/>
                  <a:gd name="T20" fmla="*/ 0 w 118"/>
                  <a:gd name="T21" fmla="*/ 0 h 772"/>
                  <a:gd name="T22" fmla="*/ 0 w 118"/>
                  <a:gd name="T23" fmla="*/ 0 h 772"/>
                  <a:gd name="T24" fmla="*/ 0 w 118"/>
                  <a:gd name="T25" fmla="*/ 0 h 772"/>
                  <a:gd name="T26" fmla="*/ 0 w 118"/>
                  <a:gd name="T27" fmla="*/ 0 h 772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118" h="772">
                    <a:moveTo>
                      <a:pt x="59" y="0"/>
                    </a:moveTo>
                    <a:cubicBezTo>
                      <a:pt x="77" y="0"/>
                      <a:pt x="91" y="6"/>
                      <a:pt x="103" y="19"/>
                    </a:cubicBezTo>
                    <a:cubicBezTo>
                      <a:pt x="113" y="31"/>
                      <a:pt x="118" y="44"/>
                      <a:pt x="118" y="59"/>
                    </a:cubicBezTo>
                    <a:cubicBezTo>
                      <a:pt x="118" y="77"/>
                      <a:pt x="112" y="91"/>
                      <a:pt x="99" y="103"/>
                    </a:cubicBezTo>
                    <a:cubicBezTo>
                      <a:pt x="88" y="113"/>
                      <a:pt x="74" y="118"/>
                      <a:pt x="59" y="118"/>
                    </a:cubicBezTo>
                    <a:cubicBezTo>
                      <a:pt x="41" y="118"/>
                      <a:pt x="27" y="112"/>
                      <a:pt x="15" y="99"/>
                    </a:cubicBezTo>
                    <a:cubicBezTo>
                      <a:pt x="5" y="88"/>
                      <a:pt x="0" y="74"/>
                      <a:pt x="0" y="58"/>
                    </a:cubicBezTo>
                    <a:cubicBezTo>
                      <a:pt x="0" y="41"/>
                      <a:pt x="7" y="27"/>
                      <a:pt x="20" y="15"/>
                    </a:cubicBezTo>
                    <a:cubicBezTo>
                      <a:pt x="31" y="5"/>
                      <a:pt x="44" y="0"/>
                      <a:pt x="59" y="0"/>
                    </a:cubicBezTo>
                    <a:moveTo>
                      <a:pt x="12" y="207"/>
                    </a:moveTo>
                    <a:cubicBezTo>
                      <a:pt x="109" y="207"/>
                      <a:pt x="109" y="207"/>
                      <a:pt x="109" y="207"/>
                    </a:cubicBezTo>
                    <a:cubicBezTo>
                      <a:pt x="109" y="772"/>
                      <a:pt x="109" y="772"/>
                      <a:pt x="109" y="772"/>
                    </a:cubicBezTo>
                    <a:cubicBezTo>
                      <a:pt x="12" y="772"/>
                      <a:pt x="12" y="772"/>
                      <a:pt x="12" y="772"/>
                    </a:cubicBezTo>
                    <a:lnTo>
                      <a:pt x="12" y="20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 sz="1600"/>
              </a:p>
            </p:txBody>
          </p:sp>
          <p:sp>
            <p:nvSpPr>
              <p:cNvPr id="27" name="Freeform 92"/>
              <p:cNvSpPr>
                <a:spLocks/>
              </p:cNvSpPr>
              <p:nvPr/>
            </p:nvSpPr>
            <p:spPr bwMode="gray">
              <a:xfrm>
                <a:off x="3587" y="1922"/>
                <a:ext cx="50" cy="143"/>
              </a:xfrm>
              <a:custGeom>
                <a:avLst/>
                <a:gdLst>
                  <a:gd name="T0" fmla="*/ 0 w 248"/>
                  <a:gd name="T1" fmla="*/ 0 h 718"/>
                  <a:gd name="T2" fmla="*/ 0 w 248"/>
                  <a:gd name="T3" fmla="*/ 0 h 718"/>
                  <a:gd name="T4" fmla="*/ 0 w 248"/>
                  <a:gd name="T5" fmla="*/ 0 h 718"/>
                  <a:gd name="T6" fmla="*/ 0 w 248"/>
                  <a:gd name="T7" fmla="*/ 0 h 718"/>
                  <a:gd name="T8" fmla="*/ 0 w 248"/>
                  <a:gd name="T9" fmla="*/ 0 h 718"/>
                  <a:gd name="T10" fmla="*/ 0 w 248"/>
                  <a:gd name="T11" fmla="*/ 0 h 718"/>
                  <a:gd name="T12" fmla="*/ 0 w 248"/>
                  <a:gd name="T13" fmla="*/ 0 h 718"/>
                  <a:gd name="T14" fmla="*/ 0 w 248"/>
                  <a:gd name="T15" fmla="*/ 0 h 718"/>
                  <a:gd name="T16" fmla="*/ 0 w 248"/>
                  <a:gd name="T17" fmla="*/ 0 h 718"/>
                  <a:gd name="T18" fmla="*/ 0 w 248"/>
                  <a:gd name="T19" fmla="*/ 0 h 718"/>
                  <a:gd name="T20" fmla="*/ 0 w 248"/>
                  <a:gd name="T21" fmla="*/ 0 h 718"/>
                  <a:gd name="T22" fmla="*/ 0 w 248"/>
                  <a:gd name="T23" fmla="*/ 0 h 718"/>
                  <a:gd name="T24" fmla="*/ 0 w 248"/>
                  <a:gd name="T25" fmla="*/ 0 h 718"/>
                  <a:gd name="T26" fmla="*/ 0 w 248"/>
                  <a:gd name="T27" fmla="*/ 0 h 718"/>
                  <a:gd name="T28" fmla="*/ 0 w 248"/>
                  <a:gd name="T29" fmla="*/ 0 h 718"/>
                  <a:gd name="T30" fmla="*/ 0 w 248"/>
                  <a:gd name="T31" fmla="*/ 0 h 718"/>
                  <a:gd name="T32" fmla="*/ 0 w 248"/>
                  <a:gd name="T33" fmla="*/ 0 h 71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248" h="718">
                    <a:moveTo>
                      <a:pt x="0" y="0"/>
                    </a:moveTo>
                    <a:cubicBezTo>
                      <a:pt x="96" y="0"/>
                      <a:pt x="96" y="0"/>
                      <a:pt x="96" y="0"/>
                    </a:cubicBezTo>
                    <a:cubicBezTo>
                      <a:pt x="96" y="153"/>
                      <a:pt x="96" y="153"/>
                      <a:pt x="96" y="153"/>
                    </a:cubicBezTo>
                    <a:cubicBezTo>
                      <a:pt x="248" y="153"/>
                      <a:pt x="248" y="153"/>
                      <a:pt x="248" y="153"/>
                    </a:cubicBezTo>
                    <a:cubicBezTo>
                      <a:pt x="248" y="215"/>
                      <a:pt x="248" y="215"/>
                      <a:pt x="248" y="215"/>
                    </a:cubicBezTo>
                    <a:cubicBezTo>
                      <a:pt x="96" y="215"/>
                      <a:pt x="96" y="215"/>
                      <a:pt x="96" y="215"/>
                    </a:cubicBezTo>
                    <a:cubicBezTo>
                      <a:pt x="96" y="515"/>
                      <a:pt x="96" y="515"/>
                      <a:pt x="96" y="515"/>
                    </a:cubicBezTo>
                    <a:cubicBezTo>
                      <a:pt x="96" y="572"/>
                      <a:pt x="105" y="610"/>
                      <a:pt x="122" y="630"/>
                    </a:cubicBezTo>
                    <a:cubicBezTo>
                      <a:pt x="134" y="644"/>
                      <a:pt x="151" y="652"/>
                      <a:pt x="175" y="655"/>
                    </a:cubicBezTo>
                    <a:cubicBezTo>
                      <a:pt x="183" y="656"/>
                      <a:pt x="197" y="657"/>
                      <a:pt x="217" y="657"/>
                    </a:cubicBezTo>
                    <a:cubicBezTo>
                      <a:pt x="248" y="657"/>
                      <a:pt x="248" y="657"/>
                      <a:pt x="248" y="657"/>
                    </a:cubicBezTo>
                    <a:cubicBezTo>
                      <a:pt x="248" y="718"/>
                      <a:pt x="248" y="718"/>
                      <a:pt x="248" y="718"/>
                    </a:cubicBezTo>
                    <a:cubicBezTo>
                      <a:pt x="196" y="718"/>
                      <a:pt x="196" y="718"/>
                      <a:pt x="196" y="718"/>
                    </a:cubicBezTo>
                    <a:cubicBezTo>
                      <a:pt x="155" y="718"/>
                      <a:pt x="122" y="715"/>
                      <a:pt x="99" y="709"/>
                    </a:cubicBezTo>
                    <a:cubicBezTo>
                      <a:pt x="49" y="695"/>
                      <a:pt x="19" y="663"/>
                      <a:pt x="8" y="613"/>
                    </a:cubicBezTo>
                    <a:cubicBezTo>
                      <a:pt x="3" y="586"/>
                      <a:pt x="0" y="549"/>
                      <a:pt x="0" y="501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 sz="1600"/>
              </a:p>
            </p:txBody>
          </p:sp>
          <p:sp>
            <p:nvSpPr>
              <p:cNvPr id="28" name="Freeform 93"/>
              <p:cNvSpPr>
                <a:spLocks/>
              </p:cNvSpPr>
              <p:nvPr/>
            </p:nvSpPr>
            <p:spPr bwMode="gray">
              <a:xfrm>
                <a:off x="3660" y="1895"/>
                <a:ext cx="86" cy="170"/>
              </a:xfrm>
              <a:custGeom>
                <a:avLst/>
                <a:gdLst>
                  <a:gd name="T0" fmla="*/ 0 w 429"/>
                  <a:gd name="T1" fmla="*/ 0 h 851"/>
                  <a:gd name="T2" fmla="*/ 0 w 429"/>
                  <a:gd name="T3" fmla="*/ 0 h 851"/>
                  <a:gd name="T4" fmla="*/ 0 w 429"/>
                  <a:gd name="T5" fmla="*/ 0 h 851"/>
                  <a:gd name="T6" fmla="*/ 0 w 429"/>
                  <a:gd name="T7" fmla="*/ 0 h 851"/>
                  <a:gd name="T8" fmla="*/ 0 w 429"/>
                  <a:gd name="T9" fmla="*/ 0 h 851"/>
                  <a:gd name="T10" fmla="*/ 0 w 429"/>
                  <a:gd name="T11" fmla="*/ 0 h 851"/>
                  <a:gd name="T12" fmla="*/ 0 w 429"/>
                  <a:gd name="T13" fmla="*/ 0 h 851"/>
                  <a:gd name="T14" fmla="*/ 0 w 429"/>
                  <a:gd name="T15" fmla="*/ 0 h 851"/>
                  <a:gd name="T16" fmla="*/ 0 w 429"/>
                  <a:gd name="T17" fmla="*/ 0 h 851"/>
                  <a:gd name="T18" fmla="*/ 0 w 429"/>
                  <a:gd name="T19" fmla="*/ 0 h 851"/>
                  <a:gd name="T20" fmla="*/ 0 w 429"/>
                  <a:gd name="T21" fmla="*/ 0 h 851"/>
                  <a:gd name="T22" fmla="*/ 0 w 429"/>
                  <a:gd name="T23" fmla="*/ 0 h 851"/>
                  <a:gd name="T24" fmla="*/ 0 w 429"/>
                  <a:gd name="T25" fmla="*/ 0 h 851"/>
                  <a:gd name="T26" fmla="*/ 0 w 429"/>
                  <a:gd name="T27" fmla="*/ 0 h 851"/>
                  <a:gd name="T28" fmla="*/ 0 w 429"/>
                  <a:gd name="T29" fmla="*/ 0 h 851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429" h="851">
                    <a:moveTo>
                      <a:pt x="0" y="851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96" y="0"/>
                      <a:pt x="96" y="0"/>
                      <a:pt x="96" y="0"/>
                    </a:cubicBezTo>
                    <a:cubicBezTo>
                      <a:pt x="96" y="300"/>
                      <a:pt x="96" y="300"/>
                      <a:pt x="96" y="300"/>
                    </a:cubicBezTo>
                    <a:cubicBezTo>
                      <a:pt x="147" y="280"/>
                      <a:pt x="194" y="270"/>
                      <a:pt x="239" y="270"/>
                    </a:cubicBezTo>
                    <a:cubicBezTo>
                      <a:pt x="328" y="270"/>
                      <a:pt x="386" y="300"/>
                      <a:pt x="411" y="359"/>
                    </a:cubicBezTo>
                    <a:cubicBezTo>
                      <a:pt x="423" y="386"/>
                      <a:pt x="429" y="434"/>
                      <a:pt x="429" y="504"/>
                    </a:cubicBezTo>
                    <a:cubicBezTo>
                      <a:pt x="429" y="851"/>
                      <a:pt x="429" y="851"/>
                      <a:pt x="429" y="851"/>
                    </a:cubicBezTo>
                    <a:cubicBezTo>
                      <a:pt x="332" y="851"/>
                      <a:pt x="332" y="851"/>
                      <a:pt x="332" y="851"/>
                    </a:cubicBezTo>
                    <a:cubicBezTo>
                      <a:pt x="332" y="489"/>
                      <a:pt x="332" y="489"/>
                      <a:pt x="332" y="489"/>
                    </a:cubicBezTo>
                    <a:cubicBezTo>
                      <a:pt x="332" y="435"/>
                      <a:pt x="326" y="397"/>
                      <a:pt x="315" y="374"/>
                    </a:cubicBezTo>
                    <a:cubicBezTo>
                      <a:pt x="300" y="344"/>
                      <a:pt x="271" y="329"/>
                      <a:pt x="230" y="329"/>
                    </a:cubicBezTo>
                    <a:cubicBezTo>
                      <a:pt x="192" y="329"/>
                      <a:pt x="147" y="340"/>
                      <a:pt x="96" y="363"/>
                    </a:cubicBezTo>
                    <a:cubicBezTo>
                      <a:pt x="96" y="851"/>
                      <a:pt x="96" y="851"/>
                      <a:pt x="96" y="851"/>
                    </a:cubicBezTo>
                    <a:lnTo>
                      <a:pt x="0" y="85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 sz="1600"/>
              </a:p>
            </p:txBody>
          </p:sp>
          <p:sp>
            <p:nvSpPr>
              <p:cNvPr id="29" name="Freeform 94"/>
              <p:cNvSpPr>
                <a:spLocks/>
              </p:cNvSpPr>
              <p:nvPr/>
            </p:nvSpPr>
            <p:spPr bwMode="gray">
              <a:xfrm>
                <a:off x="3818" y="1952"/>
                <a:ext cx="95" cy="168"/>
              </a:xfrm>
              <a:custGeom>
                <a:avLst/>
                <a:gdLst>
                  <a:gd name="T0" fmla="*/ 42 w 95"/>
                  <a:gd name="T1" fmla="*/ 115 h 168"/>
                  <a:gd name="T2" fmla="*/ 0 w 95"/>
                  <a:gd name="T3" fmla="*/ 0 h 168"/>
                  <a:gd name="T4" fmla="*/ 20 w 95"/>
                  <a:gd name="T5" fmla="*/ 0 h 168"/>
                  <a:gd name="T6" fmla="*/ 50 w 95"/>
                  <a:gd name="T7" fmla="*/ 91 h 168"/>
                  <a:gd name="T8" fmla="*/ 78 w 95"/>
                  <a:gd name="T9" fmla="*/ 0 h 168"/>
                  <a:gd name="T10" fmla="*/ 95 w 95"/>
                  <a:gd name="T11" fmla="*/ 0 h 168"/>
                  <a:gd name="T12" fmla="*/ 38 w 95"/>
                  <a:gd name="T13" fmla="*/ 168 h 168"/>
                  <a:gd name="T14" fmla="*/ 21 w 95"/>
                  <a:gd name="T15" fmla="*/ 168 h 168"/>
                  <a:gd name="T16" fmla="*/ 42 w 95"/>
                  <a:gd name="T17" fmla="*/ 115 h 16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95" h="168">
                    <a:moveTo>
                      <a:pt x="42" y="115"/>
                    </a:moveTo>
                    <a:lnTo>
                      <a:pt x="0" y="0"/>
                    </a:lnTo>
                    <a:lnTo>
                      <a:pt x="20" y="0"/>
                    </a:lnTo>
                    <a:lnTo>
                      <a:pt x="50" y="91"/>
                    </a:lnTo>
                    <a:lnTo>
                      <a:pt x="78" y="0"/>
                    </a:lnTo>
                    <a:lnTo>
                      <a:pt x="95" y="0"/>
                    </a:lnTo>
                    <a:lnTo>
                      <a:pt x="38" y="168"/>
                    </a:lnTo>
                    <a:lnTo>
                      <a:pt x="21" y="168"/>
                    </a:lnTo>
                    <a:lnTo>
                      <a:pt x="42" y="11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 sz="1600"/>
              </a:p>
            </p:txBody>
          </p:sp>
          <p:sp>
            <p:nvSpPr>
              <p:cNvPr id="30" name="Freeform 95"/>
              <p:cNvSpPr>
                <a:spLocks noEditPoints="1"/>
              </p:cNvSpPr>
              <p:nvPr/>
            </p:nvSpPr>
            <p:spPr bwMode="gray">
              <a:xfrm>
                <a:off x="3925" y="1949"/>
                <a:ext cx="95" cy="120"/>
              </a:xfrm>
              <a:custGeom>
                <a:avLst/>
                <a:gdLst>
                  <a:gd name="T0" fmla="*/ 0 w 475"/>
                  <a:gd name="T1" fmla="*/ 0 h 597"/>
                  <a:gd name="T2" fmla="*/ 0 w 475"/>
                  <a:gd name="T3" fmla="*/ 0 h 597"/>
                  <a:gd name="T4" fmla="*/ 0 w 475"/>
                  <a:gd name="T5" fmla="*/ 0 h 597"/>
                  <a:gd name="T6" fmla="*/ 0 w 475"/>
                  <a:gd name="T7" fmla="*/ 0 h 597"/>
                  <a:gd name="T8" fmla="*/ 0 w 475"/>
                  <a:gd name="T9" fmla="*/ 0 h 597"/>
                  <a:gd name="T10" fmla="*/ 0 w 475"/>
                  <a:gd name="T11" fmla="*/ 0 h 597"/>
                  <a:gd name="T12" fmla="*/ 0 w 475"/>
                  <a:gd name="T13" fmla="*/ 0 h 597"/>
                  <a:gd name="T14" fmla="*/ 0 w 475"/>
                  <a:gd name="T15" fmla="*/ 0 h 597"/>
                  <a:gd name="T16" fmla="*/ 0 w 475"/>
                  <a:gd name="T17" fmla="*/ 0 h 597"/>
                  <a:gd name="T18" fmla="*/ 0 w 475"/>
                  <a:gd name="T19" fmla="*/ 0 h 597"/>
                  <a:gd name="T20" fmla="*/ 0 w 475"/>
                  <a:gd name="T21" fmla="*/ 0 h 597"/>
                  <a:gd name="T22" fmla="*/ 0 w 475"/>
                  <a:gd name="T23" fmla="*/ 0 h 597"/>
                  <a:gd name="T24" fmla="*/ 0 w 475"/>
                  <a:gd name="T25" fmla="*/ 0 h 597"/>
                  <a:gd name="T26" fmla="*/ 0 w 475"/>
                  <a:gd name="T27" fmla="*/ 0 h 597"/>
                  <a:gd name="T28" fmla="*/ 0 w 475"/>
                  <a:gd name="T29" fmla="*/ 0 h 597"/>
                  <a:gd name="T30" fmla="*/ 0 w 475"/>
                  <a:gd name="T31" fmla="*/ 0 h 597"/>
                  <a:gd name="T32" fmla="*/ 0 w 475"/>
                  <a:gd name="T33" fmla="*/ 0 h 597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475" h="597">
                    <a:moveTo>
                      <a:pt x="238" y="0"/>
                    </a:moveTo>
                    <a:cubicBezTo>
                      <a:pt x="319" y="0"/>
                      <a:pt x="379" y="27"/>
                      <a:pt x="418" y="81"/>
                    </a:cubicBezTo>
                    <a:cubicBezTo>
                      <a:pt x="456" y="133"/>
                      <a:pt x="475" y="205"/>
                      <a:pt x="475" y="299"/>
                    </a:cubicBezTo>
                    <a:cubicBezTo>
                      <a:pt x="475" y="391"/>
                      <a:pt x="456" y="464"/>
                      <a:pt x="418" y="516"/>
                    </a:cubicBezTo>
                    <a:cubicBezTo>
                      <a:pt x="380" y="570"/>
                      <a:pt x="320" y="597"/>
                      <a:pt x="238" y="597"/>
                    </a:cubicBezTo>
                    <a:cubicBezTo>
                      <a:pt x="79" y="597"/>
                      <a:pt x="0" y="496"/>
                      <a:pt x="0" y="295"/>
                    </a:cubicBezTo>
                    <a:cubicBezTo>
                      <a:pt x="0" y="204"/>
                      <a:pt x="19" y="133"/>
                      <a:pt x="57" y="81"/>
                    </a:cubicBezTo>
                    <a:cubicBezTo>
                      <a:pt x="96" y="27"/>
                      <a:pt x="157" y="0"/>
                      <a:pt x="238" y="0"/>
                    </a:cubicBezTo>
                    <a:moveTo>
                      <a:pt x="238" y="59"/>
                    </a:moveTo>
                    <a:cubicBezTo>
                      <a:pt x="183" y="59"/>
                      <a:pt x="145" y="83"/>
                      <a:pt x="124" y="132"/>
                    </a:cubicBezTo>
                    <a:cubicBezTo>
                      <a:pt x="107" y="173"/>
                      <a:pt x="98" y="227"/>
                      <a:pt x="98" y="296"/>
                    </a:cubicBezTo>
                    <a:cubicBezTo>
                      <a:pt x="98" y="368"/>
                      <a:pt x="107" y="424"/>
                      <a:pt x="124" y="465"/>
                    </a:cubicBezTo>
                    <a:cubicBezTo>
                      <a:pt x="145" y="514"/>
                      <a:pt x="183" y="539"/>
                      <a:pt x="238" y="539"/>
                    </a:cubicBezTo>
                    <a:cubicBezTo>
                      <a:pt x="292" y="539"/>
                      <a:pt x="330" y="514"/>
                      <a:pt x="351" y="465"/>
                    </a:cubicBezTo>
                    <a:cubicBezTo>
                      <a:pt x="368" y="424"/>
                      <a:pt x="376" y="369"/>
                      <a:pt x="376" y="299"/>
                    </a:cubicBezTo>
                    <a:cubicBezTo>
                      <a:pt x="376" y="227"/>
                      <a:pt x="368" y="172"/>
                      <a:pt x="351" y="132"/>
                    </a:cubicBezTo>
                    <a:cubicBezTo>
                      <a:pt x="329" y="83"/>
                      <a:pt x="292" y="59"/>
                      <a:pt x="238" y="59"/>
                    </a:cubicBezTo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 sz="1600"/>
              </a:p>
            </p:txBody>
          </p:sp>
          <p:sp>
            <p:nvSpPr>
              <p:cNvPr id="31" name="Freeform 96"/>
              <p:cNvSpPr>
                <a:spLocks/>
              </p:cNvSpPr>
              <p:nvPr/>
            </p:nvSpPr>
            <p:spPr bwMode="gray">
              <a:xfrm>
                <a:off x="4046" y="1952"/>
                <a:ext cx="83" cy="117"/>
              </a:xfrm>
              <a:custGeom>
                <a:avLst/>
                <a:gdLst>
                  <a:gd name="T0" fmla="*/ 0 w 412"/>
                  <a:gd name="T1" fmla="*/ 0 h 581"/>
                  <a:gd name="T2" fmla="*/ 0 w 412"/>
                  <a:gd name="T3" fmla="*/ 0 h 581"/>
                  <a:gd name="T4" fmla="*/ 0 w 412"/>
                  <a:gd name="T5" fmla="*/ 0 h 581"/>
                  <a:gd name="T6" fmla="*/ 0 w 412"/>
                  <a:gd name="T7" fmla="*/ 0 h 581"/>
                  <a:gd name="T8" fmla="*/ 0 w 412"/>
                  <a:gd name="T9" fmla="*/ 0 h 581"/>
                  <a:gd name="T10" fmla="*/ 0 w 412"/>
                  <a:gd name="T11" fmla="*/ 0 h 581"/>
                  <a:gd name="T12" fmla="*/ 0 w 412"/>
                  <a:gd name="T13" fmla="*/ 0 h 581"/>
                  <a:gd name="T14" fmla="*/ 0 w 412"/>
                  <a:gd name="T15" fmla="*/ 0 h 581"/>
                  <a:gd name="T16" fmla="*/ 0 w 412"/>
                  <a:gd name="T17" fmla="*/ 0 h 581"/>
                  <a:gd name="T18" fmla="*/ 0 w 412"/>
                  <a:gd name="T19" fmla="*/ 0 h 581"/>
                  <a:gd name="T20" fmla="*/ 0 w 412"/>
                  <a:gd name="T21" fmla="*/ 0 h 581"/>
                  <a:gd name="T22" fmla="*/ 0 w 412"/>
                  <a:gd name="T23" fmla="*/ 0 h 581"/>
                  <a:gd name="T24" fmla="*/ 0 w 412"/>
                  <a:gd name="T25" fmla="*/ 0 h 581"/>
                  <a:gd name="T26" fmla="*/ 0 w 412"/>
                  <a:gd name="T27" fmla="*/ 0 h 581"/>
                  <a:gd name="T28" fmla="*/ 0 w 412"/>
                  <a:gd name="T29" fmla="*/ 0 h 581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412" h="581">
                    <a:moveTo>
                      <a:pt x="0" y="0"/>
                    </a:moveTo>
                    <a:cubicBezTo>
                      <a:pt x="96" y="0"/>
                      <a:pt x="96" y="0"/>
                      <a:pt x="96" y="0"/>
                    </a:cubicBezTo>
                    <a:cubicBezTo>
                      <a:pt x="96" y="349"/>
                      <a:pt x="96" y="349"/>
                      <a:pt x="96" y="349"/>
                    </a:cubicBezTo>
                    <a:cubicBezTo>
                      <a:pt x="96" y="413"/>
                      <a:pt x="102" y="456"/>
                      <a:pt x="114" y="477"/>
                    </a:cubicBezTo>
                    <a:cubicBezTo>
                      <a:pt x="123" y="495"/>
                      <a:pt x="136" y="507"/>
                      <a:pt x="154" y="514"/>
                    </a:cubicBezTo>
                    <a:cubicBezTo>
                      <a:pt x="168" y="520"/>
                      <a:pt x="189" y="523"/>
                      <a:pt x="216" y="523"/>
                    </a:cubicBezTo>
                    <a:cubicBezTo>
                      <a:pt x="248" y="523"/>
                      <a:pt x="281" y="518"/>
                      <a:pt x="316" y="508"/>
                    </a:cubicBezTo>
                    <a:cubicBezTo>
                      <a:pt x="316" y="0"/>
                      <a:pt x="316" y="0"/>
                      <a:pt x="316" y="0"/>
                    </a:cubicBezTo>
                    <a:cubicBezTo>
                      <a:pt x="412" y="0"/>
                      <a:pt x="412" y="0"/>
                      <a:pt x="412" y="0"/>
                    </a:cubicBezTo>
                    <a:cubicBezTo>
                      <a:pt x="412" y="556"/>
                      <a:pt x="412" y="556"/>
                      <a:pt x="412" y="556"/>
                    </a:cubicBezTo>
                    <a:cubicBezTo>
                      <a:pt x="341" y="573"/>
                      <a:pt x="273" y="581"/>
                      <a:pt x="210" y="581"/>
                    </a:cubicBezTo>
                    <a:cubicBezTo>
                      <a:pt x="146" y="581"/>
                      <a:pt x="98" y="571"/>
                      <a:pt x="67" y="551"/>
                    </a:cubicBezTo>
                    <a:cubicBezTo>
                      <a:pt x="32" y="528"/>
                      <a:pt x="11" y="493"/>
                      <a:pt x="4" y="445"/>
                    </a:cubicBezTo>
                    <a:cubicBezTo>
                      <a:pt x="1" y="422"/>
                      <a:pt x="0" y="393"/>
                      <a:pt x="0" y="356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 sz="1600"/>
              </a:p>
            </p:txBody>
          </p:sp>
          <p:sp>
            <p:nvSpPr>
              <p:cNvPr id="32" name="Freeform 97"/>
              <p:cNvSpPr>
                <a:spLocks/>
              </p:cNvSpPr>
              <p:nvPr/>
            </p:nvSpPr>
            <p:spPr bwMode="gray">
              <a:xfrm>
                <a:off x="2581" y="858"/>
                <a:ext cx="372" cy="287"/>
              </a:xfrm>
              <a:custGeom>
                <a:avLst/>
                <a:gdLst>
                  <a:gd name="T0" fmla="*/ 0 w 1858"/>
                  <a:gd name="T1" fmla="*/ 0 h 1434"/>
                  <a:gd name="T2" fmla="*/ 0 w 1858"/>
                  <a:gd name="T3" fmla="*/ 0 h 1434"/>
                  <a:gd name="T4" fmla="*/ 0 w 1858"/>
                  <a:gd name="T5" fmla="*/ 0 h 1434"/>
                  <a:gd name="T6" fmla="*/ 0 w 1858"/>
                  <a:gd name="T7" fmla="*/ 0 h 1434"/>
                  <a:gd name="T8" fmla="*/ 0 w 1858"/>
                  <a:gd name="T9" fmla="*/ 0 h 1434"/>
                  <a:gd name="T10" fmla="*/ 0 w 1858"/>
                  <a:gd name="T11" fmla="*/ 0 h 1434"/>
                  <a:gd name="T12" fmla="*/ 0 w 1858"/>
                  <a:gd name="T13" fmla="*/ 0 h 1434"/>
                  <a:gd name="T14" fmla="*/ 0 w 1858"/>
                  <a:gd name="T15" fmla="*/ 0 h 1434"/>
                  <a:gd name="T16" fmla="*/ 0 w 1858"/>
                  <a:gd name="T17" fmla="*/ 0 h 1434"/>
                  <a:gd name="T18" fmla="*/ 0 w 1858"/>
                  <a:gd name="T19" fmla="*/ 0 h 1434"/>
                  <a:gd name="T20" fmla="*/ 0 w 1858"/>
                  <a:gd name="T21" fmla="*/ 0 h 1434"/>
                  <a:gd name="T22" fmla="*/ 0 w 1858"/>
                  <a:gd name="T23" fmla="*/ 0 h 1434"/>
                  <a:gd name="T24" fmla="*/ 0 w 1858"/>
                  <a:gd name="T25" fmla="*/ 0 h 1434"/>
                  <a:gd name="T26" fmla="*/ 1 w 1858"/>
                  <a:gd name="T27" fmla="*/ 0 h 1434"/>
                  <a:gd name="T28" fmla="*/ 0 w 1858"/>
                  <a:gd name="T29" fmla="*/ 0 h 1434"/>
                  <a:gd name="T30" fmla="*/ 0 w 1858"/>
                  <a:gd name="T31" fmla="*/ 0 h 1434"/>
                  <a:gd name="T32" fmla="*/ 0 w 1858"/>
                  <a:gd name="T33" fmla="*/ 0 h 1434"/>
                  <a:gd name="T34" fmla="*/ 0 w 1858"/>
                  <a:gd name="T35" fmla="*/ 0 h 1434"/>
                  <a:gd name="T36" fmla="*/ 1 w 1858"/>
                  <a:gd name="T37" fmla="*/ 0 h 1434"/>
                  <a:gd name="T38" fmla="*/ 0 w 1858"/>
                  <a:gd name="T39" fmla="*/ 0 h 1434"/>
                  <a:gd name="T40" fmla="*/ 0 w 1858"/>
                  <a:gd name="T41" fmla="*/ 0 h 1434"/>
                  <a:gd name="T42" fmla="*/ 0 w 1858"/>
                  <a:gd name="T43" fmla="*/ 0 h 1434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1858" h="1434">
                    <a:moveTo>
                      <a:pt x="755" y="601"/>
                    </a:moveTo>
                    <a:cubicBezTo>
                      <a:pt x="687" y="541"/>
                      <a:pt x="578" y="505"/>
                      <a:pt x="470" y="505"/>
                    </a:cubicBezTo>
                    <a:cubicBezTo>
                      <a:pt x="212" y="504"/>
                      <a:pt x="2" y="707"/>
                      <a:pt x="1" y="970"/>
                    </a:cubicBezTo>
                    <a:cubicBezTo>
                      <a:pt x="0" y="1228"/>
                      <a:pt x="212" y="1433"/>
                      <a:pt x="470" y="1433"/>
                    </a:cubicBezTo>
                    <a:cubicBezTo>
                      <a:pt x="615" y="1434"/>
                      <a:pt x="741" y="1375"/>
                      <a:pt x="827" y="1272"/>
                    </a:cubicBezTo>
                    <a:cubicBezTo>
                      <a:pt x="827" y="1015"/>
                      <a:pt x="827" y="1015"/>
                      <a:pt x="827" y="1015"/>
                    </a:cubicBezTo>
                    <a:cubicBezTo>
                      <a:pt x="781" y="1095"/>
                      <a:pt x="689" y="1197"/>
                      <a:pt x="605" y="1232"/>
                    </a:cubicBezTo>
                    <a:cubicBezTo>
                      <a:pt x="563" y="1249"/>
                      <a:pt x="520" y="1260"/>
                      <a:pt x="470" y="1260"/>
                    </a:cubicBezTo>
                    <a:cubicBezTo>
                      <a:pt x="309" y="1260"/>
                      <a:pt x="176" y="1135"/>
                      <a:pt x="176" y="970"/>
                    </a:cubicBezTo>
                    <a:cubicBezTo>
                      <a:pt x="176" y="818"/>
                      <a:pt x="299" y="677"/>
                      <a:pt x="470" y="678"/>
                    </a:cubicBezTo>
                    <a:cubicBezTo>
                      <a:pt x="551" y="678"/>
                      <a:pt x="623" y="711"/>
                      <a:pt x="676" y="763"/>
                    </a:cubicBezTo>
                    <a:cubicBezTo>
                      <a:pt x="732" y="817"/>
                      <a:pt x="818" y="929"/>
                      <a:pt x="859" y="973"/>
                    </a:cubicBezTo>
                    <a:cubicBezTo>
                      <a:pt x="964" y="1086"/>
                      <a:pt x="1115" y="1157"/>
                      <a:pt x="1281" y="1157"/>
                    </a:cubicBezTo>
                    <a:cubicBezTo>
                      <a:pt x="1599" y="1158"/>
                      <a:pt x="1858" y="900"/>
                      <a:pt x="1858" y="582"/>
                    </a:cubicBezTo>
                    <a:cubicBezTo>
                      <a:pt x="1858" y="264"/>
                      <a:pt x="1599" y="0"/>
                      <a:pt x="1281" y="0"/>
                    </a:cubicBezTo>
                    <a:cubicBezTo>
                      <a:pt x="1096" y="0"/>
                      <a:pt x="933" y="96"/>
                      <a:pt x="827" y="231"/>
                    </a:cubicBezTo>
                    <a:cubicBezTo>
                      <a:pt x="827" y="577"/>
                      <a:pt x="827" y="577"/>
                      <a:pt x="827" y="577"/>
                    </a:cubicBezTo>
                    <a:cubicBezTo>
                      <a:pt x="908" y="358"/>
                      <a:pt x="1053" y="182"/>
                      <a:pt x="1281" y="182"/>
                    </a:cubicBezTo>
                    <a:cubicBezTo>
                      <a:pt x="1500" y="182"/>
                      <a:pt x="1677" y="363"/>
                      <a:pt x="1677" y="582"/>
                    </a:cubicBezTo>
                    <a:cubicBezTo>
                      <a:pt x="1676" y="801"/>
                      <a:pt x="1500" y="979"/>
                      <a:pt x="1281" y="978"/>
                    </a:cubicBezTo>
                    <a:cubicBezTo>
                      <a:pt x="1183" y="978"/>
                      <a:pt x="1093" y="942"/>
                      <a:pt x="1024" y="884"/>
                    </a:cubicBezTo>
                    <a:cubicBezTo>
                      <a:pt x="938" y="817"/>
                      <a:pt x="843" y="675"/>
                      <a:pt x="755" y="601"/>
                    </a:cubicBezTo>
                  </a:path>
                </a:pathLst>
              </a:custGeom>
              <a:solidFill>
                <a:srgbClr val="FF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 sz="1600"/>
              </a:p>
            </p:txBody>
          </p:sp>
          <p:sp>
            <p:nvSpPr>
              <p:cNvPr id="33" name="Freeform 98"/>
              <p:cNvSpPr>
                <a:spLocks/>
              </p:cNvSpPr>
              <p:nvPr/>
            </p:nvSpPr>
            <p:spPr bwMode="gray">
              <a:xfrm>
                <a:off x="1974" y="1170"/>
                <a:ext cx="256" cy="417"/>
              </a:xfrm>
              <a:custGeom>
                <a:avLst/>
                <a:gdLst>
                  <a:gd name="T0" fmla="*/ 0 w 1276"/>
                  <a:gd name="T1" fmla="*/ 0 h 2083"/>
                  <a:gd name="T2" fmla="*/ 0 w 1276"/>
                  <a:gd name="T3" fmla="*/ 0 h 2083"/>
                  <a:gd name="T4" fmla="*/ 0 w 1276"/>
                  <a:gd name="T5" fmla="*/ 0 h 2083"/>
                  <a:gd name="T6" fmla="*/ 0 w 1276"/>
                  <a:gd name="T7" fmla="*/ 0 h 2083"/>
                  <a:gd name="T8" fmla="*/ 0 w 1276"/>
                  <a:gd name="T9" fmla="*/ 0 h 2083"/>
                  <a:gd name="T10" fmla="*/ 0 w 1276"/>
                  <a:gd name="T11" fmla="*/ 0 h 2083"/>
                  <a:gd name="T12" fmla="*/ 0 w 1276"/>
                  <a:gd name="T13" fmla="*/ 0 h 2083"/>
                  <a:gd name="T14" fmla="*/ 0 w 1276"/>
                  <a:gd name="T15" fmla="*/ 0 h 2083"/>
                  <a:gd name="T16" fmla="*/ 0 w 1276"/>
                  <a:gd name="T17" fmla="*/ 0 h 2083"/>
                  <a:gd name="T18" fmla="*/ 0 w 1276"/>
                  <a:gd name="T19" fmla="*/ 0 h 2083"/>
                  <a:gd name="T20" fmla="*/ 0 w 1276"/>
                  <a:gd name="T21" fmla="*/ 1 h 2083"/>
                  <a:gd name="T22" fmla="*/ 0 w 1276"/>
                  <a:gd name="T23" fmla="*/ 1 h 2083"/>
                  <a:gd name="T24" fmla="*/ 0 w 1276"/>
                  <a:gd name="T25" fmla="*/ 1 h 2083"/>
                  <a:gd name="T26" fmla="*/ 0 w 1276"/>
                  <a:gd name="T27" fmla="*/ 1 h 2083"/>
                  <a:gd name="T28" fmla="*/ 0 w 1276"/>
                  <a:gd name="T29" fmla="*/ 0 h 2083"/>
                  <a:gd name="T30" fmla="*/ 0 w 1276"/>
                  <a:gd name="T31" fmla="*/ 0 h 2083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1276" h="2083">
                    <a:moveTo>
                      <a:pt x="0" y="0"/>
                    </a:moveTo>
                    <a:cubicBezTo>
                      <a:pt x="1276" y="0"/>
                      <a:pt x="1276" y="0"/>
                      <a:pt x="1276" y="0"/>
                    </a:cubicBezTo>
                    <a:cubicBezTo>
                      <a:pt x="1276" y="355"/>
                      <a:pt x="1276" y="355"/>
                      <a:pt x="1276" y="355"/>
                    </a:cubicBezTo>
                    <a:cubicBezTo>
                      <a:pt x="1276" y="355"/>
                      <a:pt x="1210" y="215"/>
                      <a:pt x="1072" y="215"/>
                    </a:cubicBezTo>
                    <a:cubicBezTo>
                      <a:pt x="482" y="215"/>
                      <a:pt x="482" y="215"/>
                      <a:pt x="482" y="215"/>
                    </a:cubicBezTo>
                    <a:cubicBezTo>
                      <a:pt x="482" y="828"/>
                      <a:pt x="482" y="828"/>
                      <a:pt x="482" y="828"/>
                    </a:cubicBezTo>
                    <a:cubicBezTo>
                      <a:pt x="1122" y="828"/>
                      <a:pt x="1122" y="828"/>
                      <a:pt x="1122" y="828"/>
                    </a:cubicBezTo>
                    <a:cubicBezTo>
                      <a:pt x="1122" y="1153"/>
                      <a:pt x="1122" y="1153"/>
                      <a:pt x="1122" y="1153"/>
                    </a:cubicBezTo>
                    <a:cubicBezTo>
                      <a:pt x="1122" y="1153"/>
                      <a:pt x="1101" y="1049"/>
                      <a:pt x="947" y="1049"/>
                    </a:cubicBezTo>
                    <a:cubicBezTo>
                      <a:pt x="482" y="1049"/>
                      <a:pt x="482" y="1049"/>
                      <a:pt x="482" y="1049"/>
                    </a:cubicBezTo>
                    <a:cubicBezTo>
                      <a:pt x="482" y="1886"/>
                      <a:pt x="482" y="1886"/>
                      <a:pt x="482" y="1886"/>
                    </a:cubicBezTo>
                    <a:cubicBezTo>
                      <a:pt x="482" y="2010"/>
                      <a:pt x="616" y="2083"/>
                      <a:pt x="616" y="2083"/>
                    </a:cubicBezTo>
                    <a:cubicBezTo>
                      <a:pt x="9" y="2083"/>
                      <a:pt x="9" y="2083"/>
                      <a:pt x="9" y="2083"/>
                    </a:cubicBezTo>
                    <a:cubicBezTo>
                      <a:pt x="9" y="2083"/>
                      <a:pt x="136" y="2019"/>
                      <a:pt x="136" y="1886"/>
                    </a:cubicBezTo>
                    <a:cubicBezTo>
                      <a:pt x="136" y="219"/>
                      <a:pt x="136" y="219"/>
                      <a:pt x="136" y="219"/>
                    </a:cubicBezTo>
                    <a:cubicBezTo>
                      <a:pt x="136" y="79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FF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 sz="1600"/>
              </a:p>
            </p:txBody>
          </p:sp>
          <p:sp>
            <p:nvSpPr>
              <p:cNvPr id="34" name="Freeform 99"/>
              <p:cNvSpPr>
                <a:spLocks/>
              </p:cNvSpPr>
              <p:nvPr/>
            </p:nvSpPr>
            <p:spPr bwMode="gray">
              <a:xfrm>
                <a:off x="2577" y="1171"/>
                <a:ext cx="169" cy="581"/>
              </a:xfrm>
              <a:custGeom>
                <a:avLst/>
                <a:gdLst>
                  <a:gd name="T0" fmla="*/ 0 w 842"/>
                  <a:gd name="T1" fmla="*/ 0 h 2904"/>
                  <a:gd name="T2" fmla="*/ 0 w 842"/>
                  <a:gd name="T3" fmla="*/ 0 h 2904"/>
                  <a:gd name="T4" fmla="*/ 0 w 842"/>
                  <a:gd name="T5" fmla="*/ 0 h 2904"/>
                  <a:gd name="T6" fmla="*/ 0 w 842"/>
                  <a:gd name="T7" fmla="*/ 1 h 2904"/>
                  <a:gd name="T8" fmla="*/ 0 w 842"/>
                  <a:gd name="T9" fmla="*/ 1 h 2904"/>
                  <a:gd name="T10" fmla="*/ 0 w 842"/>
                  <a:gd name="T11" fmla="*/ 1 h 2904"/>
                  <a:gd name="T12" fmla="*/ 0 w 842"/>
                  <a:gd name="T13" fmla="*/ 0 h 2904"/>
                  <a:gd name="T14" fmla="*/ 0 w 842"/>
                  <a:gd name="T15" fmla="*/ 0 h 290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842" h="2904">
                    <a:moveTo>
                      <a:pt x="193" y="0"/>
                    </a:moveTo>
                    <a:cubicBezTo>
                      <a:pt x="842" y="0"/>
                      <a:pt x="842" y="0"/>
                      <a:pt x="842" y="0"/>
                    </a:cubicBezTo>
                    <a:cubicBezTo>
                      <a:pt x="842" y="0"/>
                      <a:pt x="697" y="69"/>
                      <a:pt x="697" y="181"/>
                    </a:cubicBezTo>
                    <a:cubicBezTo>
                      <a:pt x="697" y="2135"/>
                      <a:pt x="697" y="2135"/>
                      <a:pt x="697" y="2135"/>
                    </a:cubicBezTo>
                    <a:cubicBezTo>
                      <a:pt x="697" y="2796"/>
                      <a:pt x="34" y="2904"/>
                      <a:pt x="0" y="2902"/>
                    </a:cubicBezTo>
                    <a:cubicBezTo>
                      <a:pt x="56" y="2866"/>
                      <a:pt x="331" y="2631"/>
                      <a:pt x="332" y="2135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33" y="76"/>
                      <a:pt x="193" y="0"/>
                      <a:pt x="193" y="0"/>
                    </a:cubicBezTo>
                    <a:close/>
                  </a:path>
                </a:pathLst>
              </a:custGeom>
              <a:solidFill>
                <a:srgbClr val="FF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 sz="1600"/>
              </a:p>
            </p:txBody>
          </p:sp>
          <p:sp>
            <p:nvSpPr>
              <p:cNvPr id="35" name="Freeform 100"/>
              <p:cNvSpPr>
                <a:spLocks/>
              </p:cNvSpPr>
              <p:nvPr/>
            </p:nvSpPr>
            <p:spPr bwMode="gray">
              <a:xfrm>
                <a:off x="2764" y="1171"/>
                <a:ext cx="130" cy="417"/>
              </a:xfrm>
              <a:custGeom>
                <a:avLst/>
                <a:gdLst>
                  <a:gd name="T0" fmla="*/ 0 w 651"/>
                  <a:gd name="T1" fmla="*/ 0 h 2084"/>
                  <a:gd name="T2" fmla="*/ 0 w 651"/>
                  <a:gd name="T3" fmla="*/ 0 h 2084"/>
                  <a:gd name="T4" fmla="*/ 0 w 651"/>
                  <a:gd name="T5" fmla="*/ 0 h 2084"/>
                  <a:gd name="T6" fmla="*/ 0 w 651"/>
                  <a:gd name="T7" fmla="*/ 1 h 2084"/>
                  <a:gd name="T8" fmla="*/ 0 w 651"/>
                  <a:gd name="T9" fmla="*/ 1 h 2084"/>
                  <a:gd name="T10" fmla="*/ 0 w 651"/>
                  <a:gd name="T11" fmla="*/ 1 h 2084"/>
                  <a:gd name="T12" fmla="*/ 0 w 651"/>
                  <a:gd name="T13" fmla="*/ 1 h 2084"/>
                  <a:gd name="T14" fmla="*/ 0 w 651"/>
                  <a:gd name="T15" fmla="*/ 0 h 2084"/>
                  <a:gd name="T16" fmla="*/ 0 w 651"/>
                  <a:gd name="T17" fmla="*/ 0 h 208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651" h="2084">
                    <a:moveTo>
                      <a:pt x="0" y="0"/>
                    </a:moveTo>
                    <a:cubicBezTo>
                      <a:pt x="651" y="0"/>
                      <a:pt x="651" y="0"/>
                      <a:pt x="651" y="0"/>
                    </a:cubicBezTo>
                    <a:cubicBezTo>
                      <a:pt x="651" y="0"/>
                      <a:pt x="507" y="69"/>
                      <a:pt x="507" y="184"/>
                    </a:cubicBezTo>
                    <a:cubicBezTo>
                      <a:pt x="507" y="1886"/>
                      <a:pt x="507" y="1886"/>
                      <a:pt x="507" y="1886"/>
                    </a:cubicBezTo>
                    <a:cubicBezTo>
                      <a:pt x="507" y="2008"/>
                      <a:pt x="651" y="2084"/>
                      <a:pt x="651" y="2084"/>
                    </a:cubicBezTo>
                    <a:cubicBezTo>
                      <a:pt x="0" y="2084"/>
                      <a:pt x="0" y="2084"/>
                      <a:pt x="0" y="2084"/>
                    </a:cubicBezTo>
                    <a:cubicBezTo>
                      <a:pt x="0" y="2084"/>
                      <a:pt x="145" y="2008"/>
                      <a:pt x="145" y="1886"/>
                    </a:cubicBezTo>
                    <a:cubicBezTo>
                      <a:pt x="145" y="184"/>
                      <a:pt x="145" y="184"/>
                      <a:pt x="145" y="184"/>
                    </a:cubicBezTo>
                    <a:cubicBezTo>
                      <a:pt x="145" y="69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FF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 sz="1600"/>
              </a:p>
            </p:txBody>
          </p:sp>
          <p:sp>
            <p:nvSpPr>
              <p:cNvPr id="36" name="Freeform 101"/>
              <p:cNvSpPr>
                <a:spLocks/>
              </p:cNvSpPr>
              <p:nvPr/>
            </p:nvSpPr>
            <p:spPr bwMode="gray">
              <a:xfrm>
                <a:off x="2895" y="1171"/>
                <a:ext cx="312" cy="417"/>
              </a:xfrm>
              <a:custGeom>
                <a:avLst/>
                <a:gdLst>
                  <a:gd name="T0" fmla="*/ 0 w 1559"/>
                  <a:gd name="T1" fmla="*/ 0 h 2083"/>
                  <a:gd name="T2" fmla="*/ 0 w 1559"/>
                  <a:gd name="T3" fmla="*/ 0 h 2083"/>
                  <a:gd name="T4" fmla="*/ 0 w 1559"/>
                  <a:gd name="T5" fmla="*/ 0 h 2083"/>
                  <a:gd name="T6" fmla="*/ 0 w 1559"/>
                  <a:gd name="T7" fmla="*/ 0 h 2083"/>
                  <a:gd name="T8" fmla="*/ 0 w 1559"/>
                  <a:gd name="T9" fmla="*/ 0 h 2083"/>
                  <a:gd name="T10" fmla="*/ 0 w 1559"/>
                  <a:gd name="T11" fmla="*/ 1 h 2083"/>
                  <a:gd name="T12" fmla="*/ 0 w 1559"/>
                  <a:gd name="T13" fmla="*/ 1 h 2083"/>
                  <a:gd name="T14" fmla="*/ 0 w 1559"/>
                  <a:gd name="T15" fmla="*/ 1 h 2083"/>
                  <a:gd name="T16" fmla="*/ 0 w 1559"/>
                  <a:gd name="T17" fmla="*/ 1 h 2083"/>
                  <a:gd name="T18" fmla="*/ 0 w 1559"/>
                  <a:gd name="T19" fmla="*/ 0 h 2083"/>
                  <a:gd name="T20" fmla="*/ 0 w 1559"/>
                  <a:gd name="T21" fmla="*/ 0 h 2083"/>
                  <a:gd name="T22" fmla="*/ 0 w 1559"/>
                  <a:gd name="T23" fmla="*/ 0 h 2083"/>
                  <a:gd name="T24" fmla="*/ 0 w 1559"/>
                  <a:gd name="T25" fmla="*/ 0 h 208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559" h="2083">
                    <a:moveTo>
                      <a:pt x="127" y="0"/>
                    </a:moveTo>
                    <a:cubicBezTo>
                      <a:pt x="1559" y="0"/>
                      <a:pt x="1559" y="0"/>
                      <a:pt x="1559" y="0"/>
                    </a:cubicBezTo>
                    <a:cubicBezTo>
                      <a:pt x="1438" y="378"/>
                      <a:pt x="1438" y="378"/>
                      <a:pt x="1438" y="378"/>
                    </a:cubicBezTo>
                    <a:cubicBezTo>
                      <a:pt x="1438" y="378"/>
                      <a:pt x="1401" y="219"/>
                      <a:pt x="1263" y="219"/>
                    </a:cubicBezTo>
                    <a:cubicBezTo>
                      <a:pt x="966" y="219"/>
                      <a:pt x="966" y="219"/>
                      <a:pt x="966" y="219"/>
                    </a:cubicBezTo>
                    <a:cubicBezTo>
                      <a:pt x="966" y="1886"/>
                      <a:pt x="966" y="1886"/>
                      <a:pt x="966" y="1886"/>
                    </a:cubicBezTo>
                    <a:cubicBezTo>
                      <a:pt x="966" y="1991"/>
                      <a:pt x="1106" y="2083"/>
                      <a:pt x="1106" y="2083"/>
                    </a:cubicBezTo>
                    <a:cubicBezTo>
                      <a:pt x="468" y="2083"/>
                      <a:pt x="468" y="2083"/>
                      <a:pt x="468" y="2083"/>
                    </a:cubicBezTo>
                    <a:cubicBezTo>
                      <a:pt x="468" y="2083"/>
                      <a:pt x="606" y="2000"/>
                      <a:pt x="606" y="1886"/>
                    </a:cubicBezTo>
                    <a:cubicBezTo>
                      <a:pt x="606" y="219"/>
                      <a:pt x="606" y="219"/>
                      <a:pt x="606" y="219"/>
                    </a:cubicBezTo>
                    <a:cubicBezTo>
                      <a:pt x="248" y="219"/>
                      <a:pt x="248" y="219"/>
                      <a:pt x="248" y="219"/>
                    </a:cubicBezTo>
                    <a:cubicBezTo>
                      <a:pt x="146" y="219"/>
                      <a:pt x="0" y="410"/>
                      <a:pt x="0" y="410"/>
                    </a:cubicBezTo>
                    <a:lnTo>
                      <a:pt x="127" y="0"/>
                    </a:lnTo>
                    <a:close/>
                  </a:path>
                </a:pathLst>
              </a:custGeom>
              <a:solidFill>
                <a:srgbClr val="FF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 sz="1600"/>
              </a:p>
            </p:txBody>
          </p:sp>
          <p:sp>
            <p:nvSpPr>
              <p:cNvPr id="37" name="Freeform 102"/>
              <p:cNvSpPr>
                <a:spLocks/>
              </p:cNvSpPr>
              <p:nvPr/>
            </p:nvSpPr>
            <p:spPr bwMode="gray">
              <a:xfrm>
                <a:off x="3462" y="1171"/>
                <a:ext cx="349" cy="423"/>
              </a:xfrm>
              <a:custGeom>
                <a:avLst/>
                <a:gdLst>
                  <a:gd name="T0" fmla="*/ 0 w 1743"/>
                  <a:gd name="T1" fmla="*/ 0 h 2115"/>
                  <a:gd name="T2" fmla="*/ 1 w 1743"/>
                  <a:gd name="T3" fmla="*/ 0 h 2115"/>
                  <a:gd name="T4" fmla="*/ 1 w 1743"/>
                  <a:gd name="T5" fmla="*/ 0 h 2115"/>
                  <a:gd name="T6" fmla="*/ 1 w 1743"/>
                  <a:gd name="T7" fmla="*/ 0 h 2115"/>
                  <a:gd name="T8" fmla="*/ 0 w 1743"/>
                  <a:gd name="T9" fmla="*/ 1 h 2115"/>
                  <a:gd name="T10" fmla="*/ 0 w 1743"/>
                  <a:gd name="T11" fmla="*/ 0 h 2115"/>
                  <a:gd name="T12" fmla="*/ 0 w 1743"/>
                  <a:gd name="T13" fmla="*/ 0 h 2115"/>
                  <a:gd name="T14" fmla="*/ 0 w 1743"/>
                  <a:gd name="T15" fmla="*/ 0 h 2115"/>
                  <a:gd name="T16" fmla="*/ 0 w 1743"/>
                  <a:gd name="T17" fmla="*/ 0 h 2115"/>
                  <a:gd name="T18" fmla="*/ 0 w 1743"/>
                  <a:gd name="T19" fmla="*/ 0 h 2115"/>
                  <a:gd name="T20" fmla="*/ 0 w 1743"/>
                  <a:gd name="T21" fmla="*/ 0 h 2115"/>
                  <a:gd name="T22" fmla="*/ 0 w 1743"/>
                  <a:gd name="T23" fmla="*/ 1 h 2115"/>
                  <a:gd name="T24" fmla="*/ 0 w 1743"/>
                  <a:gd name="T25" fmla="*/ 0 h 2115"/>
                  <a:gd name="T26" fmla="*/ 0 w 1743"/>
                  <a:gd name="T27" fmla="*/ 0 h 2115"/>
                  <a:gd name="T28" fmla="*/ 0 w 1743"/>
                  <a:gd name="T29" fmla="*/ 0 h 211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1743" h="2115">
                    <a:moveTo>
                      <a:pt x="1116" y="0"/>
                    </a:moveTo>
                    <a:cubicBezTo>
                      <a:pt x="1743" y="0"/>
                      <a:pt x="1743" y="0"/>
                      <a:pt x="1743" y="0"/>
                    </a:cubicBezTo>
                    <a:cubicBezTo>
                      <a:pt x="1743" y="0"/>
                      <a:pt x="1609" y="71"/>
                      <a:pt x="1609" y="184"/>
                    </a:cubicBezTo>
                    <a:cubicBezTo>
                      <a:pt x="1609" y="1445"/>
                      <a:pt x="1609" y="1445"/>
                      <a:pt x="1609" y="1445"/>
                    </a:cubicBezTo>
                    <a:cubicBezTo>
                      <a:pt x="1608" y="1957"/>
                      <a:pt x="1183" y="2115"/>
                      <a:pt x="889" y="2115"/>
                    </a:cubicBezTo>
                    <a:cubicBezTo>
                      <a:pt x="596" y="2115"/>
                      <a:pt x="138" y="1955"/>
                      <a:pt x="138" y="1445"/>
                    </a:cubicBezTo>
                    <a:cubicBezTo>
                      <a:pt x="138" y="184"/>
                      <a:pt x="138" y="184"/>
                      <a:pt x="138" y="184"/>
                    </a:cubicBezTo>
                    <a:cubicBezTo>
                      <a:pt x="139" y="71"/>
                      <a:pt x="0" y="0"/>
                      <a:pt x="0" y="0"/>
                    </a:cubicBezTo>
                    <a:cubicBezTo>
                      <a:pt x="645" y="0"/>
                      <a:pt x="645" y="0"/>
                      <a:pt x="645" y="0"/>
                    </a:cubicBezTo>
                    <a:cubicBezTo>
                      <a:pt x="645" y="0"/>
                      <a:pt x="502" y="69"/>
                      <a:pt x="502" y="184"/>
                    </a:cubicBezTo>
                    <a:cubicBezTo>
                      <a:pt x="502" y="1445"/>
                      <a:pt x="502" y="1445"/>
                      <a:pt x="502" y="1445"/>
                    </a:cubicBezTo>
                    <a:cubicBezTo>
                      <a:pt x="502" y="1714"/>
                      <a:pt x="680" y="1890"/>
                      <a:pt x="889" y="1890"/>
                    </a:cubicBezTo>
                    <a:cubicBezTo>
                      <a:pt x="1098" y="1890"/>
                      <a:pt x="1257" y="1707"/>
                      <a:pt x="1258" y="1445"/>
                    </a:cubicBezTo>
                    <a:cubicBezTo>
                      <a:pt x="1258" y="184"/>
                      <a:pt x="1258" y="184"/>
                      <a:pt x="1258" y="184"/>
                    </a:cubicBezTo>
                    <a:cubicBezTo>
                      <a:pt x="1258" y="71"/>
                      <a:pt x="1116" y="0"/>
                      <a:pt x="1116" y="0"/>
                    </a:cubicBezTo>
                    <a:close/>
                  </a:path>
                </a:pathLst>
              </a:custGeom>
              <a:solidFill>
                <a:srgbClr val="FF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 sz="1600"/>
              </a:p>
            </p:txBody>
          </p:sp>
          <p:sp>
            <p:nvSpPr>
              <p:cNvPr id="38" name="Freeform 103"/>
              <p:cNvSpPr>
                <a:spLocks/>
              </p:cNvSpPr>
              <p:nvPr/>
            </p:nvSpPr>
            <p:spPr bwMode="gray">
              <a:xfrm>
                <a:off x="2241" y="1171"/>
                <a:ext cx="352" cy="424"/>
              </a:xfrm>
              <a:custGeom>
                <a:avLst/>
                <a:gdLst>
                  <a:gd name="T0" fmla="*/ 0 w 1760"/>
                  <a:gd name="T1" fmla="*/ 0 h 2120"/>
                  <a:gd name="T2" fmla="*/ 1 w 1760"/>
                  <a:gd name="T3" fmla="*/ 0 h 2120"/>
                  <a:gd name="T4" fmla="*/ 1 w 1760"/>
                  <a:gd name="T5" fmla="*/ 0 h 2120"/>
                  <a:gd name="T6" fmla="*/ 1 w 1760"/>
                  <a:gd name="T7" fmla="*/ 0 h 2120"/>
                  <a:gd name="T8" fmla="*/ 0 w 1760"/>
                  <a:gd name="T9" fmla="*/ 1 h 2120"/>
                  <a:gd name="T10" fmla="*/ 0 w 1760"/>
                  <a:gd name="T11" fmla="*/ 0 h 2120"/>
                  <a:gd name="T12" fmla="*/ 0 w 1760"/>
                  <a:gd name="T13" fmla="*/ 0 h 2120"/>
                  <a:gd name="T14" fmla="*/ 0 w 1760"/>
                  <a:gd name="T15" fmla="*/ 0 h 2120"/>
                  <a:gd name="T16" fmla="*/ 0 w 1760"/>
                  <a:gd name="T17" fmla="*/ 0 h 2120"/>
                  <a:gd name="T18" fmla="*/ 0 w 1760"/>
                  <a:gd name="T19" fmla="*/ 0 h 2120"/>
                  <a:gd name="T20" fmla="*/ 0 w 1760"/>
                  <a:gd name="T21" fmla="*/ 0 h 2120"/>
                  <a:gd name="T22" fmla="*/ 0 w 1760"/>
                  <a:gd name="T23" fmla="*/ 1 h 2120"/>
                  <a:gd name="T24" fmla="*/ 0 w 1760"/>
                  <a:gd name="T25" fmla="*/ 0 h 2120"/>
                  <a:gd name="T26" fmla="*/ 0 w 1760"/>
                  <a:gd name="T27" fmla="*/ 0 h 2120"/>
                  <a:gd name="T28" fmla="*/ 0 w 1760"/>
                  <a:gd name="T29" fmla="*/ 0 h 2120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1760" h="2120">
                    <a:moveTo>
                      <a:pt x="1122" y="0"/>
                    </a:moveTo>
                    <a:cubicBezTo>
                      <a:pt x="1760" y="0"/>
                      <a:pt x="1760" y="0"/>
                      <a:pt x="1760" y="0"/>
                    </a:cubicBezTo>
                    <a:cubicBezTo>
                      <a:pt x="1760" y="0"/>
                      <a:pt x="1625" y="74"/>
                      <a:pt x="1625" y="186"/>
                    </a:cubicBezTo>
                    <a:cubicBezTo>
                      <a:pt x="1625" y="186"/>
                      <a:pt x="1624" y="1444"/>
                      <a:pt x="1624" y="1444"/>
                    </a:cubicBezTo>
                    <a:cubicBezTo>
                      <a:pt x="1624" y="1959"/>
                      <a:pt x="1179" y="2120"/>
                      <a:pt x="882" y="2120"/>
                    </a:cubicBezTo>
                    <a:cubicBezTo>
                      <a:pt x="589" y="2120"/>
                      <a:pt x="131" y="1956"/>
                      <a:pt x="131" y="1444"/>
                    </a:cubicBezTo>
                    <a:cubicBezTo>
                      <a:pt x="130" y="186"/>
                      <a:pt x="130" y="186"/>
                      <a:pt x="130" y="186"/>
                    </a:cubicBezTo>
                    <a:cubicBezTo>
                      <a:pt x="130" y="73"/>
                      <a:pt x="0" y="0"/>
                      <a:pt x="0" y="0"/>
                    </a:cubicBezTo>
                    <a:cubicBezTo>
                      <a:pt x="645" y="0"/>
                      <a:pt x="645" y="0"/>
                      <a:pt x="645" y="0"/>
                    </a:cubicBezTo>
                    <a:cubicBezTo>
                      <a:pt x="645" y="0"/>
                      <a:pt x="496" y="73"/>
                      <a:pt x="496" y="186"/>
                    </a:cubicBezTo>
                    <a:cubicBezTo>
                      <a:pt x="495" y="1444"/>
                      <a:pt x="495" y="1444"/>
                      <a:pt x="495" y="1444"/>
                    </a:cubicBezTo>
                    <a:cubicBezTo>
                      <a:pt x="495" y="1710"/>
                      <a:pt x="673" y="1894"/>
                      <a:pt x="882" y="1895"/>
                    </a:cubicBezTo>
                    <a:cubicBezTo>
                      <a:pt x="1091" y="1896"/>
                      <a:pt x="1258" y="1708"/>
                      <a:pt x="1258" y="1444"/>
                    </a:cubicBezTo>
                    <a:cubicBezTo>
                      <a:pt x="1259" y="186"/>
                      <a:pt x="1259" y="186"/>
                      <a:pt x="1259" y="186"/>
                    </a:cubicBezTo>
                    <a:cubicBezTo>
                      <a:pt x="1259" y="73"/>
                      <a:pt x="1122" y="0"/>
                      <a:pt x="1122" y="0"/>
                    </a:cubicBezTo>
                    <a:close/>
                  </a:path>
                </a:pathLst>
              </a:custGeom>
              <a:solidFill>
                <a:srgbClr val="FF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 sz="1600"/>
              </a:p>
            </p:txBody>
          </p:sp>
          <p:sp>
            <p:nvSpPr>
              <p:cNvPr id="39" name="Freeform 104"/>
              <p:cNvSpPr>
                <a:spLocks/>
              </p:cNvSpPr>
              <p:nvPr/>
            </p:nvSpPr>
            <p:spPr bwMode="gray">
              <a:xfrm>
                <a:off x="3193" y="1162"/>
                <a:ext cx="268" cy="433"/>
              </a:xfrm>
              <a:custGeom>
                <a:avLst/>
                <a:gdLst>
                  <a:gd name="T0" fmla="*/ 0 w 1341"/>
                  <a:gd name="T1" fmla="*/ 0 h 2163"/>
                  <a:gd name="T2" fmla="*/ 0 w 1341"/>
                  <a:gd name="T3" fmla="*/ 0 h 2163"/>
                  <a:gd name="T4" fmla="*/ 0 w 1341"/>
                  <a:gd name="T5" fmla="*/ 0 h 2163"/>
                  <a:gd name="T6" fmla="*/ 0 w 1341"/>
                  <a:gd name="T7" fmla="*/ 0 h 2163"/>
                  <a:gd name="T8" fmla="*/ 0 w 1341"/>
                  <a:gd name="T9" fmla="*/ 0 h 2163"/>
                  <a:gd name="T10" fmla="*/ 0 w 1341"/>
                  <a:gd name="T11" fmla="*/ 1 h 2163"/>
                  <a:gd name="T12" fmla="*/ 0 w 1341"/>
                  <a:gd name="T13" fmla="*/ 1 h 2163"/>
                  <a:gd name="T14" fmla="*/ 0 w 1341"/>
                  <a:gd name="T15" fmla="*/ 1 h 2163"/>
                  <a:gd name="T16" fmla="*/ 0 w 1341"/>
                  <a:gd name="T17" fmla="*/ 1 h 2163"/>
                  <a:gd name="T18" fmla="*/ 0 w 1341"/>
                  <a:gd name="T19" fmla="*/ 1 h 2163"/>
                  <a:gd name="T20" fmla="*/ 0 w 1341"/>
                  <a:gd name="T21" fmla="*/ 0 h 2163"/>
                  <a:gd name="T22" fmla="*/ 0 w 1341"/>
                  <a:gd name="T23" fmla="*/ 0 h 2163"/>
                  <a:gd name="T24" fmla="*/ 0 w 1341"/>
                  <a:gd name="T25" fmla="*/ 0 h 2163"/>
                  <a:gd name="T26" fmla="*/ 0 w 1341"/>
                  <a:gd name="T27" fmla="*/ 0 h 2163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1341" h="2163">
                    <a:moveTo>
                      <a:pt x="1152" y="375"/>
                    </a:moveTo>
                    <a:cubicBezTo>
                      <a:pt x="1152" y="375"/>
                      <a:pt x="1062" y="217"/>
                      <a:pt x="800" y="216"/>
                    </a:cubicBezTo>
                    <a:cubicBezTo>
                      <a:pt x="539" y="215"/>
                      <a:pt x="396" y="353"/>
                      <a:pt x="396" y="531"/>
                    </a:cubicBezTo>
                    <a:cubicBezTo>
                      <a:pt x="395" y="733"/>
                      <a:pt x="547" y="809"/>
                      <a:pt x="782" y="922"/>
                    </a:cubicBezTo>
                    <a:cubicBezTo>
                      <a:pt x="1005" y="1029"/>
                      <a:pt x="1341" y="1177"/>
                      <a:pt x="1340" y="1550"/>
                    </a:cubicBezTo>
                    <a:cubicBezTo>
                      <a:pt x="1339" y="1884"/>
                      <a:pt x="1042" y="2163"/>
                      <a:pt x="511" y="2163"/>
                    </a:cubicBezTo>
                    <a:cubicBezTo>
                      <a:pt x="347" y="2163"/>
                      <a:pt x="121" y="2109"/>
                      <a:pt x="121" y="2109"/>
                    </a:cubicBezTo>
                    <a:cubicBezTo>
                      <a:pt x="0" y="1709"/>
                      <a:pt x="0" y="1709"/>
                      <a:pt x="0" y="1709"/>
                    </a:cubicBezTo>
                    <a:cubicBezTo>
                      <a:pt x="112" y="1819"/>
                      <a:pt x="312" y="1936"/>
                      <a:pt x="517" y="1936"/>
                    </a:cubicBezTo>
                    <a:cubicBezTo>
                      <a:pt x="729" y="1936"/>
                      <a:pt x="983" y="1805"/>
                      <a:pt x="983" y="1594"/>
                    </a:cubicBezTo>
                    <a:cubicBezTo>
                      <a:pt x="983" y="1187"/>
                      <a:pt x="36" y="1255"/>
                      <a:pt x="36" y="573"/>
                    </a:cubicBezTo>
                    <a:cubicBezTo>
                      <a:pt x="36" y="339"/>
                      <a:pt x="199" y="0"/>
                      <a:pt x="765" y="0"/>
                    </a:cubicBezTo>
                    <a:cubicBezTo>
                      <a:pt x="948" y="0"/>
                      <a:pt x="1153" y="53"/>
                      <a:pt x="1153" y="53"/>
                    </a:cubicBezTo>
                    <a:lnTo>
                      <a:pt x="1152" y="375"/>
                    </a:lnTo>
                    <a:close/>
                  </a:path>
                </a:pathLst>
              </a:custGeom>
              <a:solidFill>
                <a:srgbClr val="FF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 sz="16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1554398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143000" y="841115"/>
            <a:ext cx="6858000" cy="1791735"/>
          </a:xfrm>
        </p:spPr>
        <p:txBody>
          <a:bodyPr anchor="b"/>
          <a:lstStyle>
            <a:lvl1pPr algn="ctr">
              <a:defRPr sz="48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1143000" y="2701095"/>
            <a:ext cx="6858000" cy="1242629"/>
          </a:xfrm>
        </p:spPr>
        <p:txBody>
          <a:bodyPr/>
          <a:lstStyle>
            <a:lvl1pPr marL="0" indent="0" algn="ctr">
              <a:buNone/>
              <a:defRPr sz="1920"/>
            </a:lvl1pPr>
            <a:lvl2pPr marL="456902" indent="0" algn="ctr">
              <a:buNone/>
              <a:defRPr sz="1600"/>
            </a:lvl2pPr>
            <a:lvl3pPr marL="913806" indent="0" algn="ctr">
              <a:buNone/>
              <a:defRPr sz="1440"/>
            </a:lvl3pPr>
            <a:lvl4pPr marL="1370710" indent="0" algn="ctr">
              <a:buNone/>
              <a:defRPr sz="1280"/>
            </a:lvl4pPr>
            <a:lvl5pPr marL="1827611" indent="0" algn="ctr">
              <a:buNone/>
              <a:defRPr sz="1280"/>
            </a:lvl5pPr>
            <a:lvl6pPr marL="2284514" indent="0" algn="ctr">
              <a:buNone/>
              <a:defRPr sz="1280"/>
            </a:lvl6pPr>
            <a:lvl7pPr marL="2741417" indent="0" algn="ctr">
              <a:buNone/>
              <a:defRPr sz="1280"/>
            </a:lvl7pPr>
            <a:lvl8pPr marL="3198320" indent="0" algn="ctr">
              <a:buNone/>
              <a:defRPr sz="1280"/>
            </a:lvl8pPr>
            <a:lvl9pPr marL="3655223" indent="0" algn="ctr">
              <a:buNone/>
              <a:defRPr sz="1280"/>
            </a:lvl9pPr>
          </a:lstStyle>
          <a:p>
            <a:r>
              <a:rPr kumimoji="1" lang="ja-JP" altLang="en-US"/>
              <a:t>マスター サブタイトルの書式設定</a:t>
            </a:r>
          </a:p>
        </p:txBody>
      </p:sp>
      <p:grpSp>
        <p:nvGrpSpPr>
          <p:cNvPr id="6" name="Group 106" descr="Message Lockup"/>
          <p:cNvGrpSpPr>
            <a:grpSpLocks/>
          </p:cNvGrpSpPr>
          <p:nvPr userDrawn="1"/>
        </p:nvGrpSpPr>
        <p:grpSpPr bwMode="auto">
          <a:xfrm>
            <a:off x="5" y="2"/>
            <a:ext cx="9148763" cy="5145087"/>
            <a:chOff x="0" y="0"/>
            <a:chExt cx="5763" cy="3242"/>
          </a:xfrm>
        </p:grpSpPr>
        <p:sp>
          <p:nvSpPr>
            <p:cNvPr id="7" name="Rectangle 3"/>
            <p:cNvSpPr>
              <a:spLocks noChangeArrowheads="1"/>
            </p:cNvSpPr>
            <p:nvPr/>
          </p:nvSpPr>
          <p:spPr bwMode="gray">
            <a:xfrm>
              <a:off x="0" y="0"/>
              <a:ext cx="5760" cy="324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rgbClr val="50505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53882" dir="2700000" algn="ctr" rotWithShape="0">
                      <a:schemeClr val="bg2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ja-JP" altLang="en-US" sz="1600">
                <a:cs typeface="Meiryo UI" pitchFamily="50" charset="-128"/>
              </a:endParaRPr>
            </a:p>
          </p:txBody>
        </p:sp>
        <p:grpSp>
          <p:nvGrpSpPr>
            <p:cNvPr id="8" name="Group 74"/>
            <p:cNvGrpSpPr>
              <a:grpSpLocks noChangeAspect="1"/>
            </p:cNvGrpSpPr>
            <p:nvPr/>
          </p:nvGrpSpPr>
          <p:grpSpPr bwMode="auto">
            <a:xfrm>
              <a:off x="0" y="0"/>
              <a:ext cx="5763" cy="3242"/>
              <a:chOff x="0" y="0"/>
              <a:chExt cx="5763" cy="3242"/>
            </a:xfrm>
          </p:grpSpPr>
          <p:sp>
            <p:nvSpPr>
              <p:cNvPr id="9" name="AutoShape 73"/>
              <p:cNvSpPr>
                <a:spLocks noChangeAspect="1" noChangeArrowheads="1" noTextEdit="1"/>
              </p:cNvSpPr>
              <p:nvPr/>
            </p:nvSpPr>
            <p:spPr bwMode="gray">
              <a:xfrm>
                <a:off x="0" y="0"/>
                <a:ext cx="5763" cy="32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 sz="1600"/>
              </a:p>
            </p:txBody>
          </p:sp>
          <p:sp>
            <p:nvSpPr>
              <p:cNvPr id="10" name="Freeform 75"/>
              <p:cNvSpPr>
                <a:spLocks/>
              </p:cNvSpPr>
              <p:nvPr/>
            </p:nvSpPr>
            <p:spPr bwMode="gray">
              <a:xfrm>
                <a:off x="1633" y="1949"/>
                <a:ext cx="73" cy="120"/>
              </a:xfrm>
              <a:custGeom>
                <a:avLst/>
                <a:gdLst>
                  <a:gd name="T0" fmla="*/ 0 w 363"/>
                  <a:gd name="T1" fmla="*/ 0 h 597"/>
                  <a:gd name="T2" fmla="*/ 0 w 363"/>
                  <a:gd name="T3" fmla="*/ 0 h 597"/>
                  <a:gd name="T4" fmla="*/ 0 w 363"/>
                  <a:gd name="T5" fmla="*/ 0 h 597"/>
                  <a:gd name="T6" fmla="*/ 0 w 363"/>
                  <a:gd name="T7" fmla="*/ 0 h 597"/>
                  <a:gd name="T8" fmla="*/ 0 w 363"/>
                  <a:gd name="T9" fmla="*/ 0 h 597"/>
                  <a:gd name="T10" fmla="*/ 0 w 363"/>
                  <a:gd name="T11" fmla="*/ 0 h 597"/>
                  <a:gd name="T12" fmla="*/ 0 w 363"/>
                  <a:gd name="T13" fmla="*/ 0 h 597"/>
                  <a:gd name="T14" fmla="*/ 0 w 363"/>
                  <a:gd name="T15" fmla="*/ 0 h 597"/>
                  <a:gd name="T16" fmla="*/ 0 w 363"/>
                  <a:gd name="T17" fmla="*/ 0 h 597"/>
                  <a:gd name="T18" fmla="*/ 0 w 363"/>
                  <a:gd name="T19" fmla="*/ 0 h 597"/>
                  <a:gd name="T20" fmla="*/ 0 w 363"/>
                  <a:gd name="T21" fmla="*/ 0 h 597"/>
                  <a:gd name="T22" fmla="*/ 0 w 363"/>
                  <a:gd name="T23" fmla="*/ 0 h 597"/>
                  <a:gd name="T24" fmla="*/ 0 w 363"/>
                  <a:gd name="T25" fmla="*/ 0 h 597"/>
                  <a:gd name="T26" fmla="*/ 0 w 363"/>
                  <a:gd name="T27" fmla="*/ 0 h 597"/>
                  <a:gd name="T28" fmla="*/ 0 w 363"/>
                  <a:gd name="T29" fmla="*/ 0 h 597"/>
                  <a:gd name="T30" fmla="*/ 0 w 363"/>
                  <a:gd name="T31" fmla="*/ 0 h 597"/>
                  <a:gd name="T32" fmla="*/ 0 w 363"/>
                  <a:gd name="T33" fmla="*/ 0 h 597"/>
                  <a:gd name="T34" fmla="*/ 0 w 363"/>
                  <a:gd name="T35" fmla="*/ 0 h 597"/>
                  <a:gd name="T36" fmla="*/ 0 w 363"/>
                  <a:gd name="T37" fmla="*/ 0 h 597"/>
                  <a:gd name="T38" fmla="*/ 0 w 363"/>
                  <a:gd name="T39" fmla="*/ 0 h 597"/>
                  <a:gd name="T40" fmla="*/ 0 w 363"/>
                  <a:gd name="T41" fmla="*/ 0 h 597"/>
                  <a:gd name="T42" fmla="*/ 0 w 363"/>
                  <a:gd name="T43" fmla="*/ 0 h 597"/>
                  <a:gd name="T44" fmla="*/ 0 w 363"/>
                  <a:gd name="T45" fmla="*/ 0 h 597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363" h="597">
                    <a:moveTo>
                      <a:pt x="0" y="573"/>
                    </a:moveTo>
                    <a:cubicBezTo>
                      <a:pt x="0" y="504"/>
                      <a:pt x="0" y="504"/>
                      <a:pt x="0" y="504"/>
                    </a:cubicBezTo>
                    <a:cubicBezTo>
                      <a:pt x="38" y="526"/>
                      <a:pt x="84" y="536"/>
                      <a:pt x="139" y="536"/>
                    </a:cubicBezTo>
                    <a:cubicBezTo>
                      <a:pt x="232" y="536"/>
                      <a:pt x="278" y="506"/>
                      <a:pt x="278" y="445"/>
                    </a:cubicBezTo>
                    <a:cubicBezTo>
                      <a:pt x="278" y="422"/>
                      <a:pt x="270" y="402"/>
                      <a:pt x="255" y="387"/>
                    </a:cubicBezTo>
                    <a:cubicBezTo>
                      <a:pt x="242" y="374"/>
                      <a:pt x="228" y="363"/>
                      <a:pt x="213" y="354"/>
                    </a:cubicBezTo>
                    <a:cubicBezTo>
                      <a:pt x="199" y="347"/>
                      <a:pt x="181" y="338"/>
                      <a:pt x="159" y="328"/>
                    </a:cubicBezTo>
                    <a:cubicBezTo>
                      <a:pt x="107" y="302"/>
                      <a:pt x="70" y="277"/>
                      <a:pt x="49" y="253"/>
                    </a:cubicBezTo>
                    <a:cubicBezTo>
                      <a:pt x="23" y="224"/>
                      <a:pt x="10" y="190"/>
                      <a:pt x="10" y="150"/>
                    </a:cubicBezTo>
                    <a:cubicBezTo>
                      <a:pt x="10" y="97"/>
                      <a:pt x="30" y="58"/>
                      <a:pt x="71" y="33"/>
                    </a:cubicBezTo>
                    <a:cubicBezTo>
                      <a:pt x="105" y="11"/>
                      <a:pt x="148" y="0"/>
                      <a:pt x="201" y="0"/>
                    </a:cubicBezTo>
                    <a:cubicBezTo>
                      <a:pt x="238" y="0"/>
                      <a:pt x="279" y="7"/>
                      <a:pt x="322" y="20"/>
                    </a:cubicBezTo>
                    <a:cubicBezTo>
                      <a:pt x="322" y="83"/>
                      <a:pt x="322" y="83"/>
                      <a:pt x="322" y="83"/>
                    </a:cubicBezTo>
                    <a:cubicBezTo>
                      <a:pt x="286" y="67"/>
                      <a:pt x="247" y="59"/>
                      <a:pt x="206" y="59"/>
                    </a:cubicBezTo>
                    <a:cubicBezTo>
                      <a:pt x="174" y="59"/>
                      <a:pt x="148" y="65"/>
                      <a:pt x="127" y="78"/>
                    </a:cubicBezTo>
                    <a:cubicBezTo>
                      <a:pt x="105" y="90"/>
                      <a:pt x="95" y="111"/>
                      <a:pt x="95" y="140"/>
                    </a:cubicBezTo>
                    <a:cubicBezTo>
                      <a:pt x="95" y="164"/>
                      <a:pt x="102" y="184"/>
                      <a:pt x="117" y="199"/>
                    </a:cubicBezTo>
                    <a:cubicBezTo>
                      <a:pt x="132" y="214"/>
                      <a:pt x="164" y="234"/>
                      <a:pt x="214" y="260"/>
                    </a:cubicBezTo>
                    <a:cubicBezTo>
                      <a:pt x="254" y="280"/>
                      <a:pt x="280" y="294"/>
                      <a:pt x="293" y="305"/>
                    </a:cubicBezTo>
                    <a:cubicBezTo>
                      <a:pt x="319" y="323"/>
                      <a:pt x="337" y="343"/>
                      <a:pt x="348" y="365"/>
                    </a:cubicBezTo>
                    <a:cubicBezTo>
                      <a:pt x="358" y="384"/>
                      <a:pt x="363" y="408"/>
                      <a:pt x="363" y="436"/>
                    </a:cubicBezTo>
                    <a:cubicBezTo>
                      <a:pt x="363" y="543"/>
                      <a:pt x="290" y="597"/>
                      <a:pt x="145" y="597"/>
                    </a:cubicBezTo>
                    <a:cubicBezTo>
                      <a:pt x="86" y="597"/>
                      <a:pt x="38" y="589"/>
                      <a:pt x="0" y="573"/>
                    </a:cubicBezTo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 sz="1600"/>
              </a:p>
            </p:txBody>
          </p:sp>
          <p:sp>
            <p:nvSpPr>
              <p:cNvPr id="11" name="Freeform 76"/>
              <p:cNvSpPr>
                <a:spLocks/>
              </p:cNvSpPr>
              <p:nvPr/>
            </p:nvSpPr>
            <p:spPr bwMode="gray">
              <a:xfrm>
                <a:off x="1733" y="1895"/>
                <a:ext cx="86" cy="170"/>
              </a:xfrm>
              <a:custGeom>
                <a:avLst/>
                <a:gdLst>
                  <a:gd name="T0" fmla="*/ 0 w 429"/>
                  <a:gd name="T1" fmla="*/ 0 h 851"/>
                  <a:gd name="T2" fmla="*/ 0 w 429"/>
                  <a:gd name="T3" fmla="*/ 0 h 851"/>
                  <a:gd name="T4" fmla="*/ 0 w 429"/>
                  <a:gd name="T5" fmla="*/ 0 h 851"/>
                  <a:gd name="T6" fmla="*/ 0 w 429"/>
                  <a:gd name="T7" fmla="*/ 0 h 851"/>
                  <a:gd name="T8" fmla="*/ 0 w 429"/>
                  <a:gd name="T9" fmla="*/ 0 h 851"/>
                  <a:gd name="T10" fmla="*/ 0 w 429"/>
                  <a:gd name="T11" fmla="*/ 0 h 851"/>
                  <a:gd name="T12" fmla="*/ 0 w 429"/>
                  <a:gd name="T13" fmla="*/ 0 h 851"/>
                  <a:gd name="T14" fmla="*/ 0 w 429"/>
                  <a:gd name="T15" fmla="*/ 0 h 851"/>
                  <a:gd name="T16" fmla="*/ 0 w 429"/>
                  <a:gd name="T17" fmla="*/ 0 h 851"/>
                  <a:gd name="T18" fmla="*/ 0 w 429"/>
                  <a:gd name="T19" fmla="*/ 0 h 851"/>
                  <a:gd name="T20" fmla="*/ 0 w 429"/>
                  <a:gd name="T21" fmla="*/ 0 h 851"/>
                  <a:gd name="T22" fmla="*/ 0 w 429"/>
                  <a:gd name="T23" fmla="*/ 0 h 851"/>
                  <a:gd name="T24" fmla="*/ 0 w 429"/>
                  <a:gd name="T25" fmla="*/ 0 h 851"/>
                  <a:gd name="T26" fmla="*/ 0 w 429"/>
                  <a:gd name="T27" fmla="*/ 0 h 851"/>
                  <a:gd name="T28" fmla="*/ 0 w 429"/>
                  <a:gd name="T29" fmla="*/ 0 h 851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429" h="851">
                    <a:moveTo>
                      <a:pt x="0" y="851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96" y="0"/>
                      <a:pt x="96" y="0"/>
                      <a:pt x="96" y="0"/>
                    </a:cubicBezTo>
                    <a:cubicBezTo>
                      <a:pt x="96" y="300"/>
                      <a:pt x="96" y="300"/>
                      <a:pt x="96" y="300"/>
                    </a:cubicBezTo>
                    <a:cubicBezTo>
                      <a:pt x="147" y="280"/>
                      <a:pt x="194" y="270"/>
                      <a:pt x="239" y="270"/>
                    </a:cubicBezTo>
                    <a:cubicBezTo>
                      <a:pt x="328" y="270"/>
                      <a:pt x="386" y="300"/>
                      <a:pt x="411" y="359"/>
                    </a:cubicBezTo>
                    <a:cubicBezTo>
                      <a:pt x="423" y="386"/>
                      <a:pt x="429" y="434"/>
                      <a:pt x="429" y="504"/>
                    </a:cubicBezTo>
                    <a:cubicBezTo>
                      <a:pt x="429" y="851"/>
                      <a:pt x="429" y="851"/>
                      <a:pt x="429" y="851"/>
                    </a:cubicBezTo>
                    <a:cubicBezTo>
                      <a:pt x="332" y="851"/>
                      <a:pt x="332" y="851"/>
                      <a:pt x="332" y="851"/>
                    </a:cubicBezTo>
                    <a:cubicBezTo>
                      <a:pt x="332" y="489"/>
                      <a:pt x="332" y="489"/>
                      <a:pt x="332" y="489"/>
                    </a:cubicBezTo>
                    <a:cubicBezTo>
                      <a:pt x="332" y="435"/>
                      <a:pt x="326" y="397"/>
                      <a:pt x="315" y="374"/>
                    </a:cubicBezTo>
                    <a:cubicBezTo>
                      <a:pt x="300" y="344"/>
                      <a:pt x="271" y="329"/>
                      <a:pt x="229" y="329"/>
                    </a:cubicBezTo>
                    <a:cubicBezTo>
                      <a:pt x="192" y="329"/>
                      <a:pt x="147" y="340"/>
                      <a:pt x="96" y="363"/>
                    </a:cubicBezTo>
                    <a:cubicBezTo>
                      <a:pt x="96" y="851"/>
                      <a:pt x="96" y="851"/>
                      <a:pt x="96" y="851"/>
                    </a:cubicBezTo>
                    <a:lnTo>
                      <a:pt x="0" y="85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 sz="1600"/>
              </a:p>
            </p:txBody>
          </p:sp>
          <p:sp>
            <p:nvSpPr>
              <p:cNvPr id="12" name="Freeform 77"/>
              <p:cNvSpPr>
                <a:spLocks noEditPoints="1"/>
              </p:cNvSpPr>
              <p:nvPr/>
            </p:nvSpPr>
            <p:spPr bwMode="gray">
              <a:xfrm>
                <a:off x="1845" y="1949"/>
                <a:ext cx="88" cy="120"/>
              </a:xfrm>
              <a:custGeom>
                <a:avLst/>
                <a:gdLst>
                  <a:gd name="T0" fmla="*/ 0 w 439"/>
                  <a:gd name="T1" fmla="*/ 0 h 597"/>
                  <a:gd name="T2" fmla="*/ 0 w 439"/>
                  <a:gd name="T3" fmla="*/ 0 h 597"/>
                  <a:gd name="T4" fmla="*/ 0 w 439"/>
                  <a:gd name="T5" fmla="*/ 0 h 597"/>
                  <a:gd name="T6" fmla="*/ 0 w 439"/>
                  <a:gd name="T7" fmla="*/ 0 h 597"/>
                  <a:gd name="T8" fmla="*/ 0 w 439"/>
                  <a:gd name="T9" fmla="*/ 0 h 597"/>
                  <a:gd name="T10" fmla="*/ 0 w 439"/>
                  <a:gd name="T11" fmla="*/ 0 h 597"/>
                  <a:gd name="T12" fmla="*/ 0 w 439"/>
                  <a:gd name="T13" fmla="*/ 0 h 597"/>
                  <a:gd name="T14" fmla="*/ 0 w 439"/>
                  <a:gd name="T15" fmla="*/ 0 h 597"/>
                  <a:gd name="T16" fmla="*/ 0 w 439"/>
                  <a:gd name="T17" fmla="*/ 0 h 597"/>
                  <a:gd name="T18" fmla="*/ 0 w 439"/>
                  <a:gd name="T19" fmla="*/ 0 h 597"/>
                  <a:gd name="T20" fmla="*/ 0 w 439"/>
                  <a:gd name="T21" fmla="*/ 0 h 597"/>
                  <a:gd name="T22" fmla="*/ 0 w 439"/>
                  <a:gd name="T23" fmla="*/ 0 h 597"/>
                  <a:gd name="T24" fmla="*/ 0 w 439"/>
                  <a:gd name="T25" fmla="*/ 0 h 597"/>
                  <a:gd name="T26" fmla="*/ 0 w 439"/>
                  <a:gd name="T27" fmla="*/ 0 h 597"/>
                  <a:gd name="T28" fmla="*/ 0 w 439"/>
                  <a:gd name="T29" fmla="*/ 0 h 597"/>
                  <a:gd name="T30" fmla="*/ 0 w 439"/>
                  <a:gd name="T31" fmla="*/ 0 h 597"/>
                  <a:gd name="T32" fmla="*/ 0 w 439"/>
                  <a:gd name="T33" fmla="*/ 0 h 597"/>
                  <a:gd name="T34" fmla="*/ 0 w 439"/>
                  <a:gd name="T35" fmla="*/ 0 h 597"/>
                  <a:gd name="T36" fmla="*/ 0 w 439"/>
                  <a:gd name="T37" fmla="*/ 0 h 597"/>
                  <a:gd name="T38" fmla="*/ 0 w 439"/>
                  <a:gd name="T39" fmla="*/ 0 h 597"/>
                  <a:gd name="T40" fmla="*/ 0 w 439"/>
                  <a:gd name="T41" fmla="*/ 0 h 597"/>
                  <a:gd name="T42" fmla="*/ 0 w 439"/>
                  <a:gd name="T43" fmla="*/ 0 h 597"/>
                  <a:gd name="T44" fmla="*/ 0 w 439"/>
                  <a:gd name="T45" fmla="*/ 0 h 597"/>
                  <a:gd name="T46" fmla="*/ 0 w 439"/>
                  <a:gd name="T47" fmla="*/ 0 h 597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439" h="597">
                    <a:moveTo>
                      <a:pt x="342" y="224"/>
                    </a:moveTo>
                    <a:cubicBezTo>
                      <a:pt x="342" y="194"/>
                      <a:pt x="342" y="194"/>
                      <a:pt x="342" y="194"/>
                    </a:cubicBezTo>
                    <a:cubicBezTo>
                      <a:pt x="342" y="157"/>
                      <a:pt x="336" y="129"/>
                      <a:pt x="324" y="108"/>
                    </a:cubicBezTo>
                    <a:cubicBezTo>
                      <a:pt x="306" y="77"/>
                      <a:pt x="269" y="61"/>
                      <a:pt x="212" y="61"/>
                    </a:cubicBezTo>
                    <a:cubicBezTo>
                      <a:pt x="160" y="61"/>
                      <a:pt x="108" y="71"/>
                      <a:pt x="55" y="93"/>
                    </a:cubicBezTo>
                    <a:cubicBezTo>
                      <a:pt x="55" y="25"/>
                      <a:pt x="55" y="25"/>
                      <a:pt x="55" y="25"/>
                    </a:cubicBezTo>
                    <a:cubicBezTo>
                      <a:pt x="108" y="9"/>
                      <a:pt x="164" y="0"/>
                      <a:pt x="222" y="0"/>
                    </a:cubicBezTo>
                    <a:cubicBezTo>
                      <a:pt x="310" y="0"/>
                      <a:pt x="371" y="20"/>
                      <a:pt x="404" y="60"/>
                    </a:cubicBezTo>
                    <a:cubicBezTo>
                      <a:pt x="422" y="82"/>
                      <a:pt x="432" y="114"/>
                      <a:pt x="437" y="157"/>
                    </a:cubicBezTo>
                    <a:cubicBezTo>
                      <a:pt x="438" y="173"/>
                      <a:pt x="439" y="196"/>
                      <a:pt x="439" y="227"/>
                    </a:cubicBezTo>
                    <a:cubicBezTo>
                      <a:pt x="439" y="570"/>
                      <a:pt x="439" y="570"/>
                      <a:pt x="439" y="570"/>
                    </a:cubicBezTo>
                    <a:cubicBezTo>
                      <a:pt x="373" y="588"/>
                      <a:pt x="303" y="597"/>
                      <a:pt x="229" y="597"/>
                    </a:cubicBezTo>
                    <a:cubicBezTo>
                      <a:pt x="158" y="597"/>
                      <a:pt x="103" y="586"/>
                      <a:pt x="64" y="564"/>
                    </a:cubicBezTo>
                    <a:cubicBezTo>
                      <a:pt x="22" y="540"/>
                      <a:pt x="0" y="498"/>
                      <a:pt x="0" y="438"/>
                    </a:cubicBezTo>
                    <a:cubicBezTo>
                      <a:pt x="0" y="369"/>
                      <a:pt x="25" y="318"/>
                      <a:pt x="75" y="285"/>
                    </a:cubicBezTo>
                    <a:cubicBezTo>
                      <a:pt x="112" y="261"/>
                      <a:pt x="175" y="243"/>
                      <a:pt x="263" y="233"/>
                    </a:cubicBezTo>
                    <a:cubicBezTo>
                      <a:pt x="279" y="231"/>
                      <a:pt x="306" y="228"/>
                      <a:pt x="342" y="224"/>
                    </a:cubicBezTo>
                    <a:moveTo>
                      <a:pt x="342" y="279"/>
                    </a:moveTo>
                    <a:cubicBezTo>
                      <a:pt x="283" y="285"/>
                      <a:pt x="239" y="292"/>
                      <a:pt x="208" y="300"/>
                    </a:cubicBezTo>
                    <a:cubicBezTo>
                      <a:pt x="135" y="318"/>
                      <a:pt x="99" y="361"/>
                      <a:pt x="99" y="428"/>
                    </a:cubicBezTo>
                    <a:cubicBezTo>
                      <a:pt x="99" y="465"/>
                      <a:pt x="109" y="492"/>
                      <a:pt x="131" y="509"/>
                    </a:cubicBezTo>
                    <a:cubicBezTo>
                      <a:pt x="155" y="529"/>
                      <a:pt x="192" y="539"/>
                      <a:pt x="244" y="539"/>
                    </a:cubicBezTo>
                    <a:cubicBezTo>
                      <a:pt x="279" y="539"/>
                      <a:pt x="312" y="534"/>
                      <a:pt x="342" y="525"/>
                    </a:cubicBezTo>
                    <a:lnTo>
                      <a:pt x="342" y="27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 sz="1600"/>
              </a:p>
            </p:txBody>
          </p:sp>
          <p:sp>
            <p:nvSpPr>
              <p:cNvPr id="13" name="Freeform 78"/>
              <p:cNvSpPr>
                <a:spLocks noEditPoints="1"/>
              </p:cNvSpPr>
              <p:nvPr/>
            </p:nvSpPr>
            <p:spPr bwMode="gray">
              <a:xfrm>
                <a:off x="1968" y="1949"/>
                <a:ext cx="88" cy="171"/>
              </a:xfrm>
              <a:custGeom>
                <a:avLst/>
                <a:gdLst>
                  <a:gd name="T0" fmla="*/ 0 w 444"/>
                  <a:gd name="T1" fmla="*/ 0 h 852"/>
                  <a:gd name="T2" fmla="*/ 0 w 444"/>
                  <a:gd name="T3" fmla="*/ 0 h 852"/>
                  <a:gd name="T4" fmla="*/ 0 w 444"/>
                  <a:gd name="T5" fmla="*/ 0 h 852"/>
                  <a:gd name="T6" fmla="*/ 0 w 444"/>
                  <a:gd name="T7" fmla="*/ 0 h 852"/>
                  <a:gd name="T8" fmla="*/ 0 w 444"/>
                  <a:gd name="T9" fmla="*/ 0 h 852"/>
                  <a:gd name="T10" fmla="*/ 0 w 444"/>
                  <a:gd name="T11" fmla="*/ 0 h 852"/>
                  <a:gd name="T12" fmla="*/ 0 w 444"/>
                  <a:gd name="T13" fmla="*/ 0 h 852"/>
                  <a:gd name="T14" fmla="*/ 0 w 444"/>
                  <a:gd name="T15" fmla="*/ 0 h 852"/>
                  <a:gd name="T16" fmla="*/ 0 w 444"/>
                  <a:gd name="T17" fmla="*/ 0 h 852"/>
                  <a:gd name="T18" fmla="*/ 0 w 444"/>
                  <a:gd name="T19" fmla="*/ 0 h 852"/>
                  <a:gd name="T20" fmla="*/ 0 w 444"/>
                  <a:gd name="T21" fmla="*/ 0 h 852"/>
                  <a:gd name="T22" fmla="*/ 0 w 444"/>
                  <a:gd name="T23" fmla="*/ 0 h 852"/>
                  <a:gd name="T24" fmla="*/ 0 w 444"/>
                  <a:gd name="T25" fmla="*/ 0 h 852"/>
                  <a:gd name="T26" fmla="*/ 0 w 444"/>
                  <a:gd name="T27" fmla="*/ 0 h 852"/>
                  <a:gd name="T28" fmla="*/ 0 w 444"/>
                  <a:gd name="T29" fmla="*/ 0 h 852"/>
                  <a:gd name="T30" fmla="*/ 0 w 444"/>
                  <a:gd name="T31" fmla="*/ 0 h 852"/>
                  <a:gd name="T32" fmla="*/ 0 w 444"/>
                  <a:gd name="T33" fmla="*/ 0 h 852"/>
                  <a:gd name="T34" fmla="*/ 0 w 444"/>
                  <a:gd name="T35" fmla="*/ 0 h 852"/>
                  <a:gd name="T36" fmla="*/ 0 w 444"/>
                  <a:gd name="T37" fmla="*/ 0 h 852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444" h="852">
                    <a:moveTo>
                      <a:pt x="96" y="557"/>
                    </a:moveTo>
                    <a:cubicBezTo>
                      <a:pt x="96" y="852"/>
                      <a:pt x="96" y="852"/>
                      <a:pt x="96" y="852"/>
                    </a:cubicBezTo>
                    <a:cubicBezTo>
                      <a:pt x="0" y="852"/>
                      <a:pt x="0" y="852"/>
                      <a:pt x="0" y="852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66" y="8"/>
                      <a:pt x="131" y="0"/>
                      <a:pt x="195" y="0"/>
                    </a:cubicBezTo>
                    <a:cubicBezTo>
                      <a:pt x="293" y="0"/>
                      <a:pt x="360" y="30"/>
                      <a:pt x="396" y="89"/>
                    </a:cubicBezTo>
                    <a:cubicBezTo>
                      <a:pt x="428" y="142"/>
                      <a:pt x="444" y="211"/>
                      <a:pt x="444" y="298"/>
                    </a:cubicBezTo>
                    <a:cubicBezTo>
                      <a:pt x="444" y="389"/>
                      <a:pt x="423" y="462"/>
                      <a:pt x="383" y="519"/>
                    </a:cubicBezTo>
                    <a:cubicBezTo>
                      <a:pt x="345" y="571"/>
                      <a:pt x="288" y="597"/>
                      <a:pt x="214" y="597"/>
                    </a:cubicBezTo>
                    <a:cubicBezTo>
                      <a:pt x="183" y="597"/>
                      <a:pt x="156" y="592"/>
                      <a:pt x="134" y="582"/>
                    </a:cubicBezTo>
                    <a:cubicBezTo>
                      <a:pt x="124" y="577"/>
                      <a:pt x="111" y="569"/>
                      <a:pt x="96" y="557"/>
                    </a:cubicBezTo>
                    <a:moveTo>
                      <a:pt x="96" y="490"/>
                    </a:moveTo>
                    <a:cubicBezTo>
                      <a:pt x="129" y="522"/>
                      <a:pt x="165" y="539"/>
                      <a:pt x="204" y="539"/>
                    </a:cubicBezTo>
                    <a:cubicBezTo>
                      <a:pt x="253" y="539"/>
                      <a:pt x="290" y="514"/>
                      <a:pt x="313" y="464"/>
                    </a:cubicBezTo>
                    <a:cubicBezTo>
                      <a:pt x="335" y="418"/>
                      <a:pt x="345" y="363"/>
                      <a:pt x="345" y="296"/>
                    </a:cubicBezTo>
                    <a:cubicBezTo>
                      <a:pt x="345" y="214"/>
                      <a:pt x="331" y="152"/>
                      <a:pt x="302" y="110"/>
                    </a:cubicBezTo>
                    <a:cubicBezTo>
                      <a:pt x="278" y="76"/>
                      <a:pt x="238" y="59"/>
                      <a:pt x="180" y="59"/>
                    </a:cubicBezTo>
                    <a:cubicBezTo>
                      <a:pt x="155" y="59"/>
                      <a:pt x="127" y="61"/>
                      <a:pt x="96" y="66"/>
                    </a:cubicBezTo>
                    <a:lnTo>
                      <a:pt x="96" y="49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 sz="1600"/>
              </a:p>
            </p:txBody>
          </p:sp>
          <p:sp>
            <p:nvSpPr>
              <p:cNvPr id="14" name="Freeform 79"/>
              <p:cNvSpPr>
                <a:spLocks noEditPoints="1"/>
              </p:cNvSpPr>
              <p:nvPr/>
            </p:nvSpPr>
            <p:spPr bwMode="gray">
              <a:xfrm>
                <a:off x="2083" y="1911"/>
                <a:ext cx="24" cy="154"/>
              </a:xfrm>
              <a:custGeom>
                <a:avLst/>
                <a:gdLst>
                  <a:gd name="T0" fmla="*/ 0 w 118"/>
                  <a:gd name="T1" fmla="*/ 0 h 772"/>
                  <a:gd name="T2" fmla="*/ 0 w 118"/>
                  <a:gd name="T3" fmla="*/ 0 h 772"/>
                  <a:gd name="T4" fmla="*/ 0 w 118"/>
                  <a:gd name="T5" fmla="*/ 0 h 772"/>
                  <a:gd name="T6" fmla="*/ 0 w 118"/>
                  <a:gd name="T7" fmla="*/ 0 h 772"/>
                  <a:gd name="T8" fmla="*/ 0 w 118"/>
                  <a:gd name="T9" fmla="*/ 0 h 772"/>
                  <a:gd name="T10" fmla="*/ 0 w 118"/>
                  <a:gd name="T11" fmla="*/ 0 h 772"/>
                  <a:gd name="T12" fmla="*/ 0 w 118"/>
                  <a:gd name="T13" fmla="*/ 0 h 772"/>
                  <a:gd name="T14" fmla="*/ 0 w 118"/>
                  <a:gd name="T15" fmla="*/ 0 h 772"/>
                  <a:gd name="T16" fmla="*/ 0 w 118"/>
                  <a:gd name="T17" fmla="*/ 0 h 772"/>
                  <a:gd name="T18" fmla="*/ 0 w 118"/>
                  <a:gd name="T19" fmla="*/ 0 h 772"/>
                  <a:gd name="T20" fmla="*/ 0 w 118"/>
                  <a:gd name="T21" fmla="*/ 0 h 772"/>
                  <a:gd name="T22" fmla="*/ 0 w 118"/>
                  <a:gd name="T23" fmla="*/ 0 h 772"/>
                  <a:gd name="T24" fmla="*/ 0 w 118"/>
                  <a:gd name="T25" fmla="*/ 0 h 772"/>
                  <a:gd name="T26" fmla="*/ 0 w 118"/>
                  <a:gd name="T27" fmla="*/ 0 h 772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118" h="772">
                    <a:moveTo>
                      <a:pt x="59" y="0"/>
                    </a:moveTo>
                    <a:cubicBezTo>
                      <a:pt x="76" y="0"/>
                      <a:pt x="91" y="6"/>
                      <a:pt x="103" y="19"/>
                    </a:cubicBezTo>
                    <a:cubicBezTo>
                      <a:pt x="113" y="31"/>
                      <a:pt x="118" y="44"/>
                      <a:pt x="118" y="59"/>
                    </a:cubicBezTo>
                    <a:cubicBezTo>
                      <a:pt x="118" y="77"/>
                      <a:pt x="111" y="91"/>
                      <a:pt x="98" y="103"/>
                    </a:cubicBezTo>
                    <a:cubicBezTo>
                      <a:pt x="87" y="113"/>
                      <a:pt x="74" y="118"/>
                      <a:pt x="58" y="118"/>
                    </a:cubicBezTo>
                    <a:cubicBezTo>
                      <a:pt x="41" y="118"/>
                      <a:pt x="26" y="112"/>
                      <a:pt x="15" y="99"/>
                    </a:cubicBezTo>
                    <a:cubicBezTo>
                      <a:pt x="5" y="88"/>
                      <a:pt x="0" y="74"/>
                      <a:pt x="0" y="58"/>
                    </a:cubicBezTo>
                    <a:cubicBezTo>
                      <a:pt x="0" y="41"/>
                      <a:pt x="6" y="27"/>
                      <a:pt x="19" y="15"/>
                    </a:cubicBezTo>
                    <a:cubicBezTo>
                      <a:pt x="30" y="5"/>
                      <a:pt x="43" y="0"/>
                      <a:pt x="59" y="0"/>
                    </a:cubicBezTo>
                    <a:moveTo>
                      <a:pt x="12" y="207"/>
                    </a:moveTo>
                    <a:cubicBezTo>
                      <a:pt x="108" y="207"/>
                      <a:pt x="108" y="207"/>
                      <a:pt x="108" y="207"/>
                    </a:cubicBezTo>
                    <a:cubicBezTo>
                      <a:pt x="108" y="772"/>
                      <a:pt x="108" y="772"/>
                      <a:pt x="108" y="772"/>
                    </a:cubicBezTo>
                    <a:cubicBezTo>
                      <a:pt x="12" y="772"/>
                      <a:pt x="12" y="772"/>
                      <a:pt x="12" y="772"/>
                    </a:cubicBezTo>
                    <a:lnTo>
                      <a:pt x="12" y="20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 sz="1600"/>
              </a:p>
            </p:txBody>
          </p:sp>
          <p:sp>
            <p:nvSpPr>
              <p:cNvPr id="15" name="Freeform 80"/>
              <p:cNvSpPr>
                <a:spLocks/>
              </p:cNvSpPr>
              <p:nvPr/>
            </p:nvSpPr>
            <p:spPr bwMode="gray">
              <a:xfrm>
                <a:off x="2141" y="1949"/>
                <a:ext cx="86" cy="116"/>
              </a:xfrm>
              <a:custGeom>
                <a:avLst/>
                <a:gdLst>
                  <a:gd name="T0" fmla="*/ 0 w 430"/>
                  <a:gd name="T1" fmla="*/ 0 h 581"/>
                  <a:gd name="T2" fmla="*/ 0 w 430"/>
                  <a:gd name="T3" fmla="*/ 0 h 581"/>
                  <a:gd name="T4" fmla="*/ 0 w 430"/>
                  <a:gd name="T5" fmla="*/ 0 h 581"/>
                  <a:gd name="T6" fmla="*/ 0 w 430"/>
                  <a:gd name="T7" fmla="*/ 0 h 581"/>
                  <a:gd name="T8" fmla="*/ 0 w 430"/>
                  <a:gd name="T9" fmla="*/ 0 h 581"/>
                  <a:gd name="T10" fmla="*/ 0 w 430"/>
                  <a:gd name="T11" fmla="*/ 0 h 581"/>
                  <a:gd name="T12" fmla="*/ 0 w 430"/>
                  <a:gd name="T13" fmla="*/ 0 h 581"/>
                  <a:gd name="T14" fmla="*/ 0 w 430"/>
                  <a:gd name="T15" fmla="*/ 0 h 581"/>
                  <a:gd name="T16" fmla="*/ 0 w 430"/>
                  <a:gd name="T17" fmla="*/ 0 h 581"/>
                  <a:gd name="T18" fmla="*/ 0 w 430"/>
                  <a:gd name="T19" fmla="*/ 0 h 581"/>
                  <a:gd name="T20" fmla="*/ 0 w 430"/>
                  <a:gd name="T21" fmla="*/ 0 h 581"/>
                  <a:gd name="T22" fmla="*/ 0 w 430"/>
                  <a:gd name="T23" fmla="*/ 0 h 581"/>
                  <a:gd name="T24" fmla="*/ 0 w 430"/>
                  <a:gd name="T25" fmla="*/ 0 h 58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430" h="581">
                    <a:moveTo>
                      <a:pt x="0" y="581"/>
                    </a:moveTo>
                    <a:cubicBezTo>
                      <a:pt x="0" y="23"/>
                      <a:pt x="0" y="23"/>
                      <a:pt x="0" y="23"/>
                    </a:cubicBezTo>
                    <a:cubicBezTo>
                      <a:pt x="90" y="8"/>
                      <a:pt x="165" y="0"/>
                      <a:pt x="227" y="0"/>
                    </a:cubicBezTo>
                    <a:cubicBezTo>
                      <a:pt x="325" y="0"/>
                      <a:pt x="387" y="30"/>
                      <a:pt x="412" y="89"/>
                    </a:cubicBezTo>
                    <a:cubicBezTo>
                      <a:pt x="424" y="117"/>
                      <a:pt x="430" y="165"/>
                      <a:pt x="430" y="234"/>
                    </a:cubicBezTo>
                    <a:cubicBezTo>
                      <a:pt x="430" y="581"/>
                      <a:pt x="430" y="581"/>
                      <a:pt x="430" y="581"/>
                    </a:cubicBezTo>
                    <a:cubicBezTo>
                      <a:pt x="333" y="581"/>
                      <a:pt x="333" y="581"/>
                      <a:pt x="333" y="581"/>
                    </a:cubicBezTo>
                    <a:cubicBezTo>
                      <a:pt x="333" y="240"/>
                      <a:pt x="333" y="240"/>
                      <a:pt x="333" y="240"/>
                    </a:cubicBezTo>
                    <a:cubicBezTo>
                      <a:pt x="333" y="173"/>
                      <a:pt x="327" y="128"/>
                      <a:pt x="316" y="105"/>
                    </a:cubicBezTo>
                    <a:cubicBezTo>
                      <a:pt x="300" y="74"/>
                      <a:pt x="267" y="59"/>
                      <a:pt x="217" y="59"/>
                    </a:cubicBezTo>
                    <a:cubicBezTo>
                      <a:pt x="178" y="59"/>
                      <a:pt x="138" y="63"/>
                      <a:pt x="97" y="71"/>
                    </a:cubicBezTo>
                    <a:cubicBezTo>
                      <a:pt x="97" y="581"/>
                      <a:pt x="97" y="581"/>
                      <a:pt x="97" y="581"/>
                    </a:cubicBezTo>
                    <a:lnTo>
                      <a:pt x="0" y="58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 sz="1600"/>
              </a:p>
            </p:txBody>
          </p:sp>
          <p:sp>
            <p:nvSpPr>
              <p:cNvPr id="16" name="Freeform 81"/>
              <p:cNvSpPr>
                <a:spLocks noEditPoints="1"/>
              </p:cNvSpPr>
              <p:nvPr/>
            </p:nvSpPr>
            <p:spPr bwMode="gray">
              <a:xfrm>
                <a:off x="2254" y="1949"/>
                <a:ext cx="89" cy="172"/>
              </a:xfrm>
              <a:custGeom>
                <a:avLst/>
                <a:gdLst>
                  <a:gd name="T0" fmla="*/ 0 w 446"/>
                  <a:gd name="T1" fmla="*/ 0 h 861"/>
                  <a:gd name="T2" fmla="*/ 0 w 446"/>
                  <a:gd name="T3" fmla="*/ 0 h 861"/>
                  <a:gd name="T4" fmla="*/ 0 w 446"/>
                  <a:gd name="T5" fmla="*/ 0 h 861"/>
                  <a:gd name="T6" fmla="*/ 0 w 446"/>
                  <a:gd name="T7" fmla="*/ 0 h 861"/>
                  <a:gd name="T8" fmla="*/ 0 w 446"/>
                  <a:gd name="T9" fmla="*/ 0 h 861"/>
                  <a:gd name="T10" fmla="*/ 0 w 446"/>
                  <a:gd name="T11" fmla="*/ 0 h 861"/>
                  <a:gd name="T12" fmla="*/ 0 w 446"/>
                  <a:gd name="T13" fmla="*/ 0 h 861"/>
                  <a:gd name="T14" fmla="*/ 0 w 446"/>
                  <a:gd name="T15" fmla="*/ 0 h 861"/>
                  <a:gd name="T16" fmla="*/ 0 w 446"/>
                  <a:gd name="T17" fmla="*/ 0 h 861"/>
                  <a:gd name="T18" fmla="*/ 0 w 446"/>
                  <a:gd name="T19" fmla="*/ 0 h 861"/>
                  <a:gd name="T20" fmla="*/ 0 w 446"/>
                  <a:gd name="T21" fmla="*/ 0 h 861"/>
                  <a:gd name="T22" fmla="*/ 0 w 446"/>
                  <a:gd name="T23" fmla="*/ 0 h 861"/>
                  <a:gd name="T24" fmla="*/ 0 w 446"/>
                  <a:gd name="T25" fmla="*/ 0 h 861"/>
                  <a:gd name="T26" fmla="*/ 0 w 446"/>
                  <a:gd name="T27" fmla="*/ 0 h 861"/>
                  <a:gd name="T28" fmla="*/ 0 w 446"/>
                  <a:gd name="T29" fmla="*/ 0 h 861"/>
                  <a:gd name="T30" fmla="*/ 0 w 446"/>
                  <a:gd name="T31" fmla="*/ 0 h 861"/>
                  <a:gd name="T32" fmla="*/ 0 w 446"/>
                  <a:gd name="T33" fmla="*/ 0 h 861"/>
                  <a:gd name="T34" fmla="*/ 0 w 446"/>
                  <a:gd name="T35" fmla="*/ 0 h 861"/>
                  <a:gd name="T36" fmla="*/ 0 w 446"/>
                  <a:gd name="T37" fmla="*/ 0 h 861"/>
                  <a:gd name="T38" fmla="*/ 0 w 446"/>
                  <a:gd name="T39" fmla="*/ 0 h 861"/>
                  <a:gd name="T40" fmla="*/ 0 w 446"/>
                  <a:gd name="T41" fmla="*/ 0 h 861"/>
                  <a:gd name="T42" fmla="*/ 0 w 446"/>
                  <a:gd name="T43" fmla="*/ 0 h 861"/>
                  <a:gd name="T44" fmla="*/ 0 w 446"/>
                  <a:gd name="T45" fmla="*/ 0 h 861"/>
                  <a:gd name="T46" fmla="*/ 0 w 446"/>
                  <a:gd name="T47" fmla="*/ 0 h 861"/>
                  <a:gd name="T48" fmla="*/ 0 w 446"/>
                  <a:gd name="T49" fmla="*/ 0 h 861"/>
                  <a:gd name="T50" fmla="*/ 0 w 446"/>
                  <a:gd name="T51" fmla="*/ 0 h 861"/>
                  <a:gd name="T52" fmla="*/ 0 w 446"/>
                  <a:gd name="T53" fmla="*/ 0 h 861"/>
                  <a:gd name="T54" fmla="*/ 0 w 446"/>
                  <a:gd name="T55" fmla="*/ 0 h 861"/>
                  <a:gd name="T56" fmla="*/ 0 w 446"/>
                  <a:gd name="T57" fmla="*/ 0 h 861"/>
                  <a:gd name="T58" fmla="*/ 0 w 446"/>
                  <a:gd name="T59" fmla="*/ 0 h 861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0" t="0" r="r" b="b"/>
                <a:pathLst>
                  <a:path w="446" h="861">
                    <a:moveTo>
                      <a:pt x="349" y="531"/>
                    </a:moveTo>
                    <a:cubicBezTo>
                      <a:pt x="334" y="547"/>
                      <a:pt x="322" y="558"/>
                      <a:pt x="313" y="565"/>
                    </a:cubicBezTo>
                    <a:cubicBezTo>
                      <a:pt x="283" y="586"/>
                      <a:pt x="246" y="597"/>
                      <a:pt x="201" y="597"/>
                    </a:cubicBezTo>
                    <a:cubicBezTo>
                      <a:pt x="150" y="597"/>
                      <a:pt x="109" y="583"/>
                      <a:pt x="76" y="555"/>
                    </a:cubicBezTo>
                    <a:cubicBezTo>
                      <a:pt x="25" y="513"/>
                      <a:pt x="0" y="436"/>
                      <a:pt x="0" y="325"/>
                    </a:cubicBezTo>
                    <a:cubicBezTo>
                      <a:pt x="0" y="235"/>
                      <a:pt x="18" y="162"/>
                      <a:pt x="55" y="103"/>
                    </a:cubicBezTo>
                    <a:cubicBezTo>
                      <a:pt x="99" y="35"/>
                      <a:pt x="169" y="0"/>
                      <a:pt x="267" y="0"/>
                    </a:cubicBezTo>
                    <a:cubicBezTo>
                      <a:pt x="324" y="0"/>
                      <a:pt x="384" y="8"/>
                      <a:pt x="446" y="23"/>
                    </a:cubicBezTo>
                    <a:cubicBezTo>
                      <a:pt x="446" y="471"/>
                      <a:pt x="446" y="471"/>
                      <a:pt x="446" y="471"/>
                    </a:cubicBezTo>
                    <a:cubicBezTo>
                      <a:pt x="446" y="554"/>
                      <a:pt x="442" y="617"/>
                      <a:pt x="435" y="661"/>
                    </a:cubicBezTo>
                    <a:cubicBezTo>
                      <a:pt x="422" y="740"/>
                      <a:pt x="387" y="794"/>
                      <a:pt x="330" y="824"/>
                    </a:cubicBezTo>
                    <a:cubicBezTo>
                      <a:pt x="284" y="849"/>
                      <a:pt x="224" y="861"/>
                      <a:pt x="149" y="861"/>
                    </a:cubicBezTo>
                    <a:cubicBezTo>
                      <a:pt x="129" y="861"/>
                      <a:pt x="104" y="859"/>
                      <a:pt x="77" y="856"/>
                    </a:cubicBezTo>
                    <a:cubicBezTo>
                      <a:pt x="77" y="798"/>
                      <a:pt x="77" y="798"/>
                      <a:pt x="77" y="798"/>
                    </a:cubicBezTo>
                    <a:cubicBezTo>
                      <a:pt x="102" y="801"/>
                      <a:pt x="126" y="802"/>
                      <a:pt x="149" y="802"/>
                    </a:cubicBezTo>
                    <a:cubicBezTo>
                      <a:pt x="202" y="802"/>
                      <a:pt x="241" y="796"/>
                      <a:pt x="267" y="781"/>
                    </a:cubicBezTo>
                    <a:cubicBezTo>
                      <a:pt x="305" y="761"/>
                      <a:pt x="330" y="725"/>
                      <a:pt x="340" y="673"/>
                    </a:cubicBezTo>
                    <a:cubicBezTo>
                      <a:pt x="346" y="643"/>
                      <a:pt x="349" y="606"/>
                      <a:pt x="349" y="562"/>
                    </a:cubicBezTo>
                    <a:lnTo>
                      <a:pt x="349" y="531"/>
                    </a:lnTo>
                    <a:close/>
                    <a:moveTo>
                      <a:pt x="349" y="64"/>
                    </a:moveTo>
                    <a:cubicBezTo>
                      <a:pt x="322" y="61"/>
                      <a:pt x="298" y="59"/>
                      <a:pt x="276" y="59"/>
                    </a:cubicBezTo>
                    <a:cubicBezTo>
                      <a:pt x="236" y="59"/>
                      <a:pt x="204" y="67"/>
                      <a:pt x="181" y="83"/>
                    </a:cubicBezTo>
                    <a:cubicBezTo>
                      <a:pt x="155" y="102"/>
                      <a:pt x="134" y="136"/>
                      <a:pt x="119" y="183"/>
                    </a:cubicBezTo>
                    <a:cubicBezTo>
                      <a:pt x="106" y="225"/>
                      <a:pt x="99" y="274"/>
                      <a:pt x="99" y="329"/>
                    </a:cubicBezTo>
                    <a:cubicBezTo>
                      <a:pt x="99" y="406"/>
                      <a:pt x="111" y="462"/>
                      <a:pt x="136" y="497"/>
                    </a:cubicBezTo>
                    <a:cubicBezTo>
                      <a:pt x="156" y="525"/>
                      <a:pt x="182" y="539"/>
                      <a:pt x="214" y="539"/>
                    </a:cubicBezTo>
                    <a:cubicBezTo>
                      <a:pt x="242" y="539"/>
                      <a:pt x="267" y="530"/>
                      <a:pt x="291" y="513"/>
                    </a:cubicBezTo>
                    <a:cubicBezTo>
                      <a:pt x="314" y="495"/>
                      <a:pt x="331" y="472"/>
                      <a:pt x="341" y="444"/>
                    </a:cubicBezTo>
                    <a:cubicBezTo>
                      <a:pt x="346" y="429"/>
                      <a:pt x="349" y="408"/>
                      <a:pt x="349" y="379"/>
                    </a:cubicBezTo>
                    <a:lnTo>
                      <a:pt x="349" y="6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 sz="1600"/>
              </a:p>
            </p:txBody>
          </p:sp>
          <p:sp>
            <p:nvSpPr>
              <p:cNvPr id="17" name="Freeform 82"/>
              <p:cNvSpPr>
                <a:spLocks/>
              </p:cNvSpPr>
              <p:nvPr/>
            </p:nvSpPr>
            <p:spPr bwMode="gray">
              <a:xfrm>
                <a:off x="2431" y="1922"/>
                <a:ext cx="50" cy="143"/>
              </a:xfrm>
              <a:custGeom>
                <a:avLst/>
                <a:gdLst>
                  <a:gd name="T0" fmla="*/ 0 w 249"/>
                  <a:gd name="T1" fmla="*/ 0 h 718"/>
                  <a:gd name="T2" fmla="*/ 0 w 249"/>
                  <a:gd name="T3" fmla="*/ 0 h 718"/>
                  <a:gd name="T4" fmla="*/ 0 w 249"/>
                  <a:gd name="T5" fmla="*/ 0 h 718"/>
                  <a:gd name="T6" fmla="*/ 0 w 249"/>
                  <a:gd name="T7" fmla="*/ 0 h 718"/>
                  <a:gd name="T8" fmla="*/ 0 w 249"/>
                  <a:gd name="T9" fmla="*/ 0 h 718"/>
                  <a:gd name="T10" fmla="*/ 0 w 249"/>
                  <a:gd name="T11" fmla="*/ 0 h 718"/>
                  <a:gd name="T12" fmla="*/ 0 w 249"/>
                  <a:gd name="T13" fmla="*/ 0 h 718"/>
                  <a:gd name="T14" fmla="*/ 0 w 249"/>
                  <a:gd name="T15" fmla="*/ 0 h 718"/>
                  <a:gd name="T16" fmla="*/ 0 w 249"/>
                  <a:gd name="T17" fmla="*/ 0 h 718"/>
                  <a:gd name="T18" fmla="*/ 0 w 249"/>
                  <a:gd name="T19" fmla="*/ 0 h 718"/>
                  <a:gd name="T20" fmla="*/ 0 w 249"/>
                  <a:gd name="T21" fmla="*/ 0 h 718"/>
                  <a:gd name="T22" fmla="*/ 0 w 249"/>
                  <a:gd name="T23" fmla="*/ 0 h 718"/>
                  <a:gd name="T24" fmla="*/ 0 w 249"/>
                  <a:gd name="T25" fmla="*/ 0 h 718"/>
                  <a:gd name="T26" fmla="*/ 0 w 249"/>
                  <a:gd name="T27" fmla="*/ 0 h 718"/>
                  <a:gd name="T28" fmla="*/ 0 w 249"/>
                  <a:gd name="T29" fmla="*/ 0 h 718"/>
                  <a:gd name="T30" fmla="*/ 0 w 249"/>
                  <a:gd name="T31" fmla="*/ 0 h 718"/>
                  <a:gd name="T32" fmla="*/ 0 w 249"/>
                  <a:gd name="T33" fmla="*/ 0 h 71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249" h="718">
                    <a:moveTo>
                      <a:pt x="0" y="0"/>
                    </a:moveTo>
                    <a:cubicBezTo>
                      <a:pt x="97" y="0"/>
                      <a:pt x="97" y="0"/>
                      <a:pt x="97" y="0"/>
                    </a:cubicBezTo>
                    <a:cubicBezTo>
                      <a:pt x="97" y="153"/>
                      <a:pt x="97" y="153"/>
                      <a:pt x="97" y="153"/>
                    </a:cubicBezTo>
                    <a:cubicBezTo>
                      <a:pt x="249" y="153"/>
                      <a:pt x="249" y="153"/>
                      <a:pt x="249" y="153"/>
                    </a:cubicBezTo>
                    <a:cubicBezTo>
                      <a:pt x="249" y="215"/>
                      <a:pt x="249" y="215"/>
                      <a:pt x="249" y="215"/>
                    </a:cubicBezTo>
                    <a:cubicBezTo>
                      <a:pt x="97" y="215"/>
                      <a:pt x="97" y="215"/>
                      <a:pt x="97" y="215"/>
                    </a:cubicBezTo>
                    <a:cubicBezTo>
                      <a:pt x="97" y="515"/>
                      <a:pt x="97" y="515"/>
                      <a:pt x="97" y="515"/>
                    </a:cubicBezTo>
                    <a:cubicBezTo>
                      <a:pt x="97" y="572"/>
                      <a:pt x="105" y="610"/>
                      <a:pt x="122" y="630"/>
                    </a:cubicBezTo>
                    <a:cubicBezTo>
                      <a:pt x="134" y="644"/>
                      <a:pt x="152" y="652"/>
                      <a:pt x="176" y="655"/>
                    </a:cubicBezTo>
                    <a:cubicBezTo>
                      <a:pt x="184" y="656"/>
                      <a:pt x="197" y="657"/>
                      <a:pt x="217" y="657"/>
                    </a:cubicBezTo>
                    <a:cubicBezTo>
                      <a:pt x="249" y="657"/>
                      <a:pt x="249" y="657"/>
                      <a:pt x="249" y="657"/>
                    </a:cubicBezTo>
                    <a:cubicBezTo>
                      <a:pt x="249" y="718"/>
                      <a:pt x="249" y="718"/>
                      <a:pt x="249" y="718"/>
                    </a:cubicBezTo>
                    <a:cubicBezTo>
                      <a:pt x="197" y="718"/>
                      <a:pt x="197" y="718"/>
                      <a:pt x="197" y="718"/>
                    </a:cubicBezTo>
                    <a:cubicBezTo>
                      <a:pt x="155" y="718"/>
                      <a:pt x="123" y="715"/>
                      <a:pt x="99" y="709"/>
                    </a:cubicBezTo>
                    <a:cubicBezTo>
                      <a:pt x="50" y="695"/>
                      <a:pt x="20" y="663"/>
                      <a:pt x="9" y="613"/>
                    </a:cubicBezTo>
                    <a:cubicBezTo>
                      <a:pt x="3" y="586"/>
                      <a:pt x="0" y="549"/>
                      <a:pt x="0" y="501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 sz="1600"/>
              </a:p>
            </p:txBody>
          </p:sp>
          <p:sp>
            <p:nvSpPr>
              <p:cNvPr id="18" name="Freeform 83"/>
              <p:cNvSpPr>
                <a:spLocks noEditPoints="1"/>
              </p:cNvSpPr>
              <p:nvPr/>
            </p:nvSpPr>
            <p:spPr bwMode="gray">
              <a:xfrm>
                <a:off x="2502" y="1949"/>
                <a:ext cx="95" cy="120"/>
              </a:xfrm>
              <a:custGeom>
                <a:avLst/>
                <a:gdLst>
                  <a:gd name="T0" fmla="*/ 0 w 476"/>
                  <a:gd name="T1" fmla="*/ 0 h 597"/>
                  <a:gd name="T2" fmla="*/ 0 w 476"/>
                  <a:gd name="T3" fmla="*/ 0 h 597"/>
                  <a:gd name="T4" fmla="*/ 0 w 476"/>
                  <a:gd name="T5" fmla="*/ 0 h 597"/>
                  <a:gd name="T6" fmla="*/ 0 w 476"/>
                  <a:gd name="T7" fmla="*/ 0 h 597"/>
                  <a:gd name="T8" fmla="*/ 0 w 476"/>
                  <a:gd name="T9" fmla="*/ 0 h 597"/>
                  <a:gd name="T10" fmla="*/ 0 w 476"/>
                  <a:gd name="T11" fmla="*/ 0 h 597"/>
                  <a:gd name="T12" fmla="*/ 0 w 476"/>
                  <a:gd name="T13" fmla="*/ 0 h 597"/>
                  <a:gd name="T14" fmla="*/ 0 w 476"/>
                  <a:gd name="T15" fmla="*/ 0 h 597"/>
                  <a:gd name="T16" fmla="*/ 0 w 476"/>
                  <a:gd name="T17" fmla="*/ 0 h 597"/>
                  <a:gd name="T18" fmla="*/ 0 w 476"/>
                  <a:gd name="T19" fmla="*/ 0 h 597"/>
                  <a:gd name="T20" fmla="*/ 0 w 476"/>
                  <a:gd name="T21" fmla="*/ 0 h 597"/>
                  <a:gd name="T22" fmla="*/ 0 w 476"/>
                  <a:gd name="T23" fmla="*/ 0 h 597"/>
                  <a:gd name="T24" fmla="*/ 0 w 476"/>
                  <a:gd name="T25" fmla="*/ 0 h 597"/>
                  <a:gd name="T26" fmla="*/ 0 w 476"/>
                  <a:gd name="T27" fmla="*/ 0 h 597"/>
                  <a:gd name="T28" fmla="*/ 0 w 476"/>
                  <a:gd name="T29" fmla="*/ 0 h 597"/>
                  <a:gd name="T30" fmla="*/ 0 w 476"/>
                  <a:gd name="T31" fmla="*/ 0 h 597"/>
                  <a:gd name="T32" fmla="*/ 0 w 476"/>
                  <a:gd name="T33" fmla="*/ 0 h 597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476" h="597">
                    <a:moveTo>
                      <a:pt x="238" y="0"/>
                    </a:moveTo>
                    <a:cubicBezTo>
                      <a:pt x="319" y="0"/>
                      <a:pt x="379" y="27"/>
                      <a:pt x="419" y="81"/>
                    </a:cubicBezTo>
                    <a:cubicBezTo>
                      <a:pt x="457" y="133"/>
                      <a:pt x="476" y="205"/>
                      <a:pt x="476" y="299"/>
                    </a:cubicBezTo>
                    <a:cubicBezTo>
                      <a:pt x="476" y="391"/>
                      <a:pt x="457" y="464"/>
                      <a:pt x="419" y="516"/>
                    </a:cubicBezTo>
                    <a:cubicBezTo>
                      <a:pt x="380" y="570"/>
                      <a:pt x="320" y="597"/>
                      <a:pt x="239" y="597"/>
                    </a:cubicBezTo>
                    <a:cubicBezTo>
                      <a:pt x="79" y="597"/>
                      <a:pt x="0" y="496"/>
                      <a:pt x="0" y="295"/>
                    </a:cubicBezTo>
                    <a:cubicBezTo>
                      <a:pt x="0" y="204"/>
                      <a:pt x="19" y="133"/>
                      <a:pt x="57" y="81"/>
                    </a:cubicBezTo>
                    <a:cubicBezTo>
                      <a:pt x="96" y="27"/>
                      <a:pt x="157" y="0"/>
                      <a:pt x="238" y="0"/>
                    </a:cubicBezTo>
                    <a:moveTo>
                      <a:pt x="238" y="59"/>
                    </a:moveTo>
                    <a:cubicBezTo>
                      <a:pt x="183" y="59"/>
                      <a:pt x="145" y="83"/>
                      <a:pt x="125" y="132"/>
                    </a:cubicBezTo>
                    <a:cubicBezTo>
                      <a:pt x="107" y="173"/>
                      <a:pt x="99" y="227"/>
                      <a:pt x="99" y="296"/>
                    </a:cubicBezTo>
                    <a:cubicBezTo>
                      <a:pt x="99" y="368"/>
                      <a:pt x="107" y="424"/>
                      <a:pt x="125" y="465"/>
                    </a:cubicBezTo>
                    <a:cubicBezTo>
                      <a:pt x="145" y="514"/>
                      <a:pt x="183" y="539"/>
                      <a:pt x="238" y="539"/>
                    </a:cubicBezTo>
                    <a:cubicBezTo>
                      <a:pt x="293" y="539"/>
                      <a:pt x="330" y="514"/>
                      <a:pt x="351" y="465"/>
                    </a:cubicBezTo>
                    <a:cubicBezTo>
                      <a:pt x="368" y="424"/>
                      <a:pt x="377" y="369"/>
                      <a:pt x="377" y="299"/>
                    </a:cubicBezTo>
                    <a:cubicBezTo>
                      <a:pt x="377" y="227"/>
                      <a:pt x="368" y="172"/>
                      <a:pt x="351" y="132"/>
                    </a:cubicBezTo>
                    <a:cubicBezTo>
                      <a:pt x="330" y="83"/>
                      <a:pt x="292" y="59"/>
                      <a:pt x="238" y="59"/>
                    </a:cubicBezTo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 sz="1600"/>
              </a:p>
            </p:txBody>
          </p:sp>
          <p:sp>
            <p:nvSpPr>
              <p:cNvPr id="19" name="Freeform 84"/>
              <p:cNvSpPr>
                <a:spLocks/>
              </p:cNvSpPr>
              <p:nvPr/>
            </p:nvSpPr>
            <p:spPr bwMode="gray">
              <a:xfrm>
                <a:off x="2625" y="1949"/>
                <a:ext cx="146" cy="116"/>
              </a:xfrm>
              <a:custGeom>
                <a:avLst/>
                <a:gdLst>
                  <a:gd name="T0" fmla="*/ 0 w 730"/>
                  <a:gd name="T1" fmla="*/ 0 h 581"/>
                  <a:gd name="T2" fmla="*/ 0 w 730"/>
                  <a:gd name="T3" fmla="*/ 0 h 581"/>
                  <a:gd name="T4" fmla="*/ 0 w 730"/>
                  <a:gd name="T5" fmla="*/ 0 h 581"/>
                  <a:gd name="T6" fmla="*/ 0 w 730"/>
                  <a:gd name="T7" fmla="*/ 0 h 581"/>
                  <a:gd name="T8" fmla="*/ 0 w 730"/>
                  <a:gd name="T9" fmla="*/ 0 h 581"/>
                  <a:gd name="T10" fmla="*/ 0 w 730"/>
                  <a:gd name="T11" fmla="*/ 0 h 581"/>
                  <a:gd name="T12" fmla="*/ 0 w 730"/>
                  <a:gd name="T13" fmla="*/ 0 h 581"/>
                  <a:gd name="T14" fmla="*/ 0 w 730"/>
                  <a:gd name="T15" fmla="*/ 0 h 581"/>
                  <a:gd name="T16" fmla="*/ 0 w 730"/>
                  <a:gd name="T17" fmla="*/ 0 h 581"/>
                  <a:gd name="T18" fmla="*/ 0 w 730"/>
                  <a:gd name="T19" fmla="*/ 0 h 581"/>
                  <a:gd name="T20" fmla="*/ 0 w 730"/>
                  <a:gd name="T21" fmla="*/ 0 h 581"/>
                  <a:gd name="T22" fmla="*/ 0 w 730"/>
                  <a:gd name="T23" fmla="*/ 0 h 581"/>
                  <a:gd name="T24" fmla="*/ 0 w 730"/>
                  <a:gd name="T25" fmla="*/ 0 h 581"/>
                  <a:gd name="T26" fmla="*/ 0 w 730"/>
                  <a:gd name="T27" fmla="*/ 0 h 581"/>
                  <a:gd name="T28" fmla="*/ 0 w 730"/>
                  <a:gd name="T29" fmla="*/ 0 h 581"/>
                  <a:gd name="T30" fmla="*/ 0 w 730"/>
                  <a:gd name="T31" fmla="*/ 0 h 581"/>
                  <a:gd name="T32" fmla="*/ 0 w 730"/>
                  <a:gd name="T33" fmla="*/ 0 h 581"/>
                  <a:gd name="T34" fmla="*/ 0 w 730"/>
                  <a:gd name="T35" fmla="*/ 0 h 581"/>
                  <a:gd name="T36" fmla="*/ 0 w 730"/>
                  <a:gd name="T37" fmla="*/ 0 h 581"/>
                  <a:gd name="T38" fmla="*/ 0 w 730"/>
                  <a:gd name="T39" fmla="*/ 0 h 581"/>
                  <a:gd name="T40" fmla="*/ 0 w 730"/>
                  <a:gd name="T41" fmla="*/ 0 h 581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730" h="581">
                    <a:moveTo>
                      <a:pt x="0" y="581"/>
                    </a:moveTo>
                    <a:cubicBezTo>
                      <a:pt x="0" y="23"/>
                      <a:pt x="0" y="23"/>
                      <a:pt x="0" y="23"/>
                    </a:cubicBezTo>
                    <a:cubicBezTo>
                      <a:pt x="88" y="8"/>
                      <a:pt x="158" y="0"/>
                      <a:pt x="209" y="0"/>
                    </a:cubicBezTo>
                    <a:cubicBezTo>
                      <a:pt x="276" y="0"/>
                      <a:pt x="326" y="12"/>
                      <a:pt x="360" y="37"/>
                    </a:cubicBezTo>
                    <a:cubicBezTo>
                      <a:pt x="421" y="12"/>
                      <a:pt x="481" y="0"/>
                      <a:pt x="541" y="0"/>
                    </a:cubicBezTo>
                    <a:cubicBezTo>
                      <a:pt x="632" y="0"/>
                      <a:pt x="690" y="30"/>
                      <a:pt x="714" y="90"/>
                    </a:cubicBezTo>
                    <a:cubicBezTo>
                      <a:pt x="725" y="118"/>
                      <a:pt x="730" y="166"/>
                      <a:pt x="730" y="234"/>
                    </a:cubicBezTo>
                    <a:cubicBezTo>
                      <a:pt x="730" y="581"/>
                      <a:pt x="730" y="581"/>
                      <a:pt x="730" y="581"/>
                    </a:cubicBezTo>
                    <a:cubicBezTo>
                      <a:pt x="634" y="581"/>
                      <a:pt x="634" y="581"/>
                      <a:pt x="634" y="581"/>
                    </a:cubicBezTo>
                    <a:cubicBezTo>
                      <a:pt x="634" y="240"/>
                      <a:pt x="634" y="240"/>
                      <a:pt x="634" y="240"/>
                    </a:cubicBezTo>
                    <a:cubicBezTo>
                      <a:pt x="634" y="174"/>
                      <a:pt x="628" y="129"/>
                      <a:pt x="618" y="106"/>
                    </a:cubicBezTo>
                    <a:cubicBezTo>
                      <a:pt x="604" y="75"/>
                      <a:pt x="574" y="59"/>
                      <a:pt x="528" y="59"/>
                    </a:cubicBezTo>
                    <a:cubicBezTo>
                      <a:pt x="491" y="59"/>
                      <a:pt x="452" y="68"/>
                      <a:pt x="413" y="85"/>
                    </a:cubicBezTo>
                    <a:cubicBezTo>
                      <a:pt x="413" y="581"/>
                      <a:pt x="413" y="581"/>
                      <a:pt x="413" y="581"/>
                    </a:cubicBezTo>
                    <a:cubicBezTo>
                      <a:pt x="317" y="581"/>
                      <a:pt x="317" y="581"/>
                      <a:pt x="317" y="581"/>
                    </a:cubicBezTo>
                    <a:cubicBezTo>
                      <a:pt x="317" y="236"/>
                      <a:pt x="317" y="236"/>
                      <a:pt x="317" y="236"/>
                    </a:cubicBezTo>
                    <a:cubicBezTo>
                      <a:pt x="317" y="172"/>
                      <a:pt x="312" y="129"/>
                      <a:pt x="301" y="106"/>
                    </a:cubicBezTo>
                    <a:cubicBezTo>
                      <a:pt x="286" y="75"/>
                      <a:pt x="255" y="59"/>
                      <a:pt x="209" y="59"/>
                    </a:cubicBezTo>
                    <a:cubicBezTo>
                      <a:pt x="173" y="59"/>
                      <a:pt x="135" y="63"/>
                      <a:pt x="96" y="71"/>
                    </a:cubicBezTo>
                    <a:cubicBezTo>
                      <a:pt x="96" y="581"/>
                      <a:pt x="96" y="581"/>
                      <a:pt x="96" y="581"/>
                    </a:cubicBezTo>
                    <a:lnTo>
                      <a:pt x="0" y="58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 sz="1600"/>
              </a:p>
            </p:txBody>
          </p:sp>
          <p:sp>
            <p:nvSpPr>
              <p:cNvPr id="20" name="Freeform 85"/>
              <p:cNvSpPr>
                <a:spLocks noEditPoints="1"/>
              </p:cNvSpPr>
              <p:nvPr/>
            </p:nvSpPr>
            <p:spPr bwMode="gray">
              <a:xfrm>
                <a:off x="2797" y="1949"/>
                <a:ext cx="95" cy="120"/>
              </a:xfrm>
              <a:custGeom>
                <a:avLst/>
                <a:gdLst>
                  <a:gd name="T0" fmla="*/ 0 w 475"/>
                  <a:gd name="T1" fmla="*/ 0 h 597"/>
                  <a:gd name="T2" fmla="*/ 0 w 475"/>
                  <a:gd name="T3" fmla="*/ 0 h 597"/>
                  <a:gd name="T4" fmla="*/ 0 w 475"/>
                  <a:gd name="T5" fmla="*/ 0 h 597"/>
                  <a:gd name="T6" fmla="*/ 0 w 475"/>
                  <a:gd name="T7" fmla="*/ 0 h 597"/>
                  <a:gd name="T8" fmla="*/ 0 w 475"/>
                  <a:gd name="T9" fmla="*/ 0 h 597"/>
                  <a:gd name="T10" fmla="*/ 0 w 475"/>
                  <a:gd name="T11" fmla="*/ 0 h 597"/>
                  <a:gd name="T12" fmla="*/ 0 w 475"/>
                  <a:gd name="T13" fmla="*/ 0 h 597"/>
                  <a:gd name="T14" fmla="*/ 0 w 475"/>
                  <a:gd name="T15" fmla="*/ 0 h 597"/>
                  <a:gd name="T16" fmla="*/ 0 w 475"/>
                  <a:gd name="T17" fmla="*/ 0 h 597"/>
                  <a:gd name="T18" fmla="*/ 0 w 475"/>
                  <a:gd name="T19" fmla="*/ 0 h 597"/>
                  <a:gd name="T20" fmla="*/ 0 w 475"/>
                  <a:gd name="T21" fmla="*/ 0 h 597"/>
                  <a:gd name="T22" fmla="*/ 0 w 475"/>
                  <a:gd name="T23" fmla="*/ 0 h 597"/>
                  <a:gd name="T24" fmla="*/ 0 w 475"/>
                  <a:gd name="T25" fmla="*/ 0 h 597"/>
                  <a:gd name="T26" fmla="*/ 0 w 475"/>
                  <a:gd name="T27" fmla="*/ 0 h 597"/>
                  <a:gd name="T28" fmla="*/ 0 w 475"/>
                  <a:gd name="T29" fmla="*/ 0 h 597"/>
                  <a:gd name="T30" fmla="*/ 0 w 475"/>
                  <a:gd name="T31" fmla="*/ 0 h 597"/>
                  <a:gd name="T32" fmla="*/ 0 w 475"/>
                  <a:gd name="T33" fmla="*/ 0 h 597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475" h="597">
                    <a:moveTo>
                      <a:pt x="238" y="0"/>
                    </a:moveTo>
                    <a:cubicBezTo>
                      <a:pt x="319" y="0"/>
                      <a:pt x="379" y="27"/>
                      <a:pt x="418" y="81"/>
                    </a:cubicBezTo>
                    <a:cubicBezTo>
                      <a:pt x="456" y="133"/>
                      <a:pt x="475" y="205"/>
                      <a:pt x="475" y="299"/>
                    </a:cubicBezTo>
                    <a:cubicBezTo>
                      <a:pt x="475" y="391"/>
                      <a:pt x="456" y="464"/>
                      <a:pt x="418" y="516"/>
                    </a:cubicBezTo>
                    <a:cubicBezTo>
                      <a:pt x="379" y="570"/>
                      <a:pt x="319" y="597"/>
                      <a:pt x="238" y="597"/>
                    </a:cubicBezTo>
                    <a:cubicBezTo>
                      <a:pt x="79" y="597"/>
                      <a:pt x="0" y="496"/>
                      <a:pt x="0" y="295"/>
                    </a:cubicBezTo>
                    <a:cubicBezTo>
                      <a:pt x="0" y="204"/>
                      <a:pt x="19" y="133"/>
                      <a:pt x="57" y="81"/>
                    </a:cubicBezTo>
                    <a:cubicBezTo>
                      <a:pt x="96" y="27"/>
                      <a:pt x="156" y="0"/>
                      <a:pt x="238" y="0"/>
                    </a:cubicBezTo>
                    <a:moveTo>
                      <a:pt x="238" y="59"/>
                    </a:moveTo>
                    <a:cubicBezTo>
                      <a:pt x="183" y="59"/>
                      <a:pt x="145" y="83"/>
                      <a:pt x="124" y="132"/>
                    </a:cubicBezTo>
                    <a:cubicBezTo>
                      <a:pt x="107" y="173"/>
                      <a:pt x="98" y="227"/>
                      <a:pt x="98" y="296"/>
                    </a:cubicBezTo>
                    <a:cubicBezTo>
                      <a:pt x="98" y="368"/>
                      <a:pt x="107" y="424"/>
                      <a:pt x="124" y="465"/>
                    </a:cubicBezTo>
                    <a:cubicBezTo>
                      <a:pt x="145" y="514"/>
                      <a:pt x="183" y="539"/>
                      <a:pt x="238" y="539"/>
                    </a:cubicBezTo>
                    <a:cubicBezTo>
                      <a:pt x="292" y="539"/>
                      <a:pt x="330" y="514"/>
                      <a:pt x="350" y="465"/>
                    </a:cubicBezTo>
                    <a:cubicBezTo>
                      <a:pt x="368" y="424"/>
                      <a:pt x="376" y="369"/>
                      <a:pt x="376" y="299"/>
                    </a:cubicBezTo>
                    <a:cubicBezTo>
                      <a:pt x="376" y="227"/>
                      <a:pt x="368" y="172"/>
                      <a:pt x="350" y="132"/>
                    </a:cubicBezTo>
                    <a:cubicBezTo>
                      <a:pt x="329" y="83"/>
                      <a:pt x="292" y="59"/>
                      <a:pt x="238" y="59"/>
                    </a:cubicBezTo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 sz="1600"/>
              </a:p>
            </p:txBody>
          </p:sp>
          <p:sp>
            <p:nvSpPr>
              <p:cNvPr id="21" name="Freeform 86"/>
              <p:cNvSpPr>
                <a:spLocks/>
              </p:cNvSpPr>
              <p:nvPr/>
            </p:nvSpPr>
            <p:spPr bwMode="gray">
              <a:xfrm>
                <a:off x="2922" y="1949"/>
                <a:ext cx="49" cy="116"/>
              </a:xfrm>
              <a:custGeom>
                <a:avLst/>
                <a:gdLst>
                  <a:gd name="T0" fmla="*/ 0 w 244"/>
                  <a:gd name="T1" fmla="*/ 0 h 581"/>
                  <a:gd name="T2" fmla="*/ 0 w 244"/>
                  <a:gd name="T3" fmla="*/ 0 h 581"/>
                  <a:gd name="T4" fmla="*/ 0 w 244"/>
                  <a:gd name="T5" fmla="*/ 0 h 581"/>
                  <a:gd name="T6" fmla="*/ 0 w 244"/>
                  <a:gd name="T7" fmla="*/ 0 h 581"/>
                  <a:gd name="T8" fmla="*/ 0 w 244"/>
                  <a:gd name="T9" fmla="*/ 0 h 581"/>
                  <a:gd name="T10" fmla="*/ 0 w 244"/>
                  <a:gd name="T11" fmla="*/ 0 h 581"/>
                  <a:gd name="T12" fmla="*/ 0 w 244"/>
                  <a:gd name="T13" fmla="*/ 0 h 581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44" h="581">
                    <a:moveTo>
                      <a:pt x="0" y="581"/>
                    </a:moveTo>
                    <a:cubicBezTo>
                      <a:pt x="0" y="25"/>
                      <a:pt x="0" y="25"/>
                      <a:pt x="0" y="25"/>
                    </a:cubicBezTo>
                    <a:cubicBezTo>
                      <a:pt x="74" y="9"/>
                      <a:pt x="155" y="1"/>
                      <a:pt x="244" y="0"/>
                    </a:cubicBezTo>
                    <a:cubicBezTo>
                      <a:pt x="244" y="61"/>
                      <a:pt x="244" y="61"/>
                      <a:pt x="244" y="61"/>
                    </a:cubicBezTo>
                    <a:cubicBezTo>
                      <a:pt x="190" y="61"/>
                      <a:pt x="141" y="65"/>
                      <a:pt x="97" y="71"/>
                    </a:cubicBezTo>
                    <a:cubicBezTo>
                      <a:pt x="97" y="581"/>
                      <a:pt x="97" y="581"/>
                      <a:pt x="97" y="581"/>
                    </a:cubicBezTo>
                    <a:lnTo>
                      <a:pt x="0" y="58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 sz="1600"/>
              </a:p>
            </p:txBody>
          </p:sp>
          <p:sp>
            <p:nvSpPr>
              <p:cNvPr id="22" name="Freeform 87"/>
              <p:cNvSpPr>
                <a:spLocks/>
              </p:cNvSpPr>
              <p:nvPr/>
            </p:nvSpPr>
            <p:spPr bwMode="gray">
              <a:xfrm>
                <a:off x="2992" y="1949"/>
                <a:ext cx="49" cy="116"/>
              </a:xfrm>
              <a:custGeom>
                <a:avLst/>
                <a:gdLst>
                  <a:gd name="T0" fmla="*/ 0 w 244"/>
                  <a:gd name="T1" fmla="*/ 0 h 581"/>
                  <a:gd name="T2" fmla="*/ 0 w 244"/>
                  <a:gd name="T3" fmla="*/ 0 h 581"/>
                  <a:gd name="T4" fmla="*/ 0 w 244"/>
                  <a:gd name="T5" fmla="*/ 0 h 581"/>
                  <a:gd name="T6" fmla="*/ 0 w 244"/>
                  <a:gd name="T7" fmla="*/ 0 h 581"/>
                  <a:gd name="T8" fmla="*/ 0 w 244"/>
                  <a:gd name="T9" fmla="*/ 0 h 581"/>
                  <a:gd name="T10" fmla="*/ 0 w 244"/>
                  <a:gd name="T11" fmla="*/ 0 h 581"/>
                  <a:gd name="T12" fmla="*/ 0 w 244"/>
                  <a:gd name="T13" fmla="*/ 0 h 581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44" h="581">
                    <a:moveTo>
                      <a:pt x="0" y="581"/>
                    </a:moveTo>
                    <a:cubicBezTo>
                      <a:pt x="0" y="25"/>
                      <a:pt x="0" y="25"/>
                      <a:pt x="0" y="25"/>
                    </a:cubicBezTo>
                    <a:cubicBezTo>
                      <a:pt x="74" y="9"/>
                      <a:pt x="155" y="1"/>
                      <a:pt x="244" y="0"/>
                    </a:cubicBezTo>
                    <a:cubicBezTo>
                      <a:pt x="244" y="61"/>
                      <a:pt x="244" y="61"/>
                      <a:pt x="244" y="61"/>
                    </a:cubicBezTo>
                    <a:cubicBezTo>
                      <a:pt x="190" y="61"/>
                      <a:pt x="140" y="65"/>
                      <a:pt x="97" y="71"/>
                    </a:cubicBezTo>
                    <a:cubicBezTo>
                      <a:pt x="97" y="581"/>
                      <a:pt x="97" y="581"/>
                      <a:pt x="97" y="581"/>
                    </a:cubicBezTo>
                    <a:lnTo>
                      <a:pt x="0" y="58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 sz="1600"/>
              </a:p>
            </p:txBody>
          </p:sp>
          <p:sp>
            <p:nvSpPr>
              <p:cNvPr id="23" name="Freeform 88"/>
              <p:cNvSpPr>
                <a:spLocks noEditPoints="1"/>
              </p:cNvSpPr>
              <p:nvPr/>
            </p:nvSpPr>
            <p:spPr bwMode="gray">
              <a:xfrm>
                <a:off x="3054" y="1949"/>
                <a:ext cx="95" cy="120"/>
              </a:xfrm>
              <a:custGeom>
                <a:avLst/>
                <a:gdLst>
                  <a:gd name="T0" fmla="*/ 0 w 476"/>
                  <a:gd name="T1" fmla="*/ 0 h 597"/>
                  <a:gd name="T2" fmla="*/ 0 w 476"/>
                  <a:gd name="T3" fmla="*/ 0 h 597"/>
                  <a:gd name="T4" fmla="*/ 0 w 476"/>
                  <a:gd name="T5" fmla="*/ 0 h 597"/>
                  <a:gd name="T6" fmla="*/ 0 w 476"/>
                  <a:gd name="T7" fmla="*/ 0 h 597"/>
                  <a:gd name="T8" fmla="*/ 0 w 476"/>
                  <a:gd name="T9" fmla="*/ 0 h 597"/>
                  <a:gd name="T10" fmla="*/ 0 w 476"/>
                  <a:gd name="T11" fmla="*/ 0 h 597"/>
                  <a:gd name="T12" fmla="*/ 0 w 476"/>
                  <a:gd name="T13" fmla="*/ 0 h 597"/>
                  <a:gd name="T14" fmla="*/ 0 w 476"/>
                  <a:gd name="T15" fmla="*/ 0 h 597"/>
                  <a:gd name="T16" fmla="*/ 0 w 476"/>
                  <a:gd name="T17" fmla="*/ 0 h 597"/>
                  <a:gd name="T18" fmla="*/ 0 w 476"/>
                  <a:gd name="T19" fmla="*/ 0 h 597"/>
                  <a:gd name="T20" fmla="*/ 0 w 476"/>
                  <a:gd name="T21" fmla="*/ 0 h 597"/>
                  <a:gd name="T22" fmla="*/ 0 w 476"/>
                  <a:gd name="T23" fmla="*/ 0 h 597"/>
                  <a:gd name="T24" fmla="*/ 0 w 476"/>
                  <a:gd name="T25" fmla="*/ 0 h 597"/>
                  <a:gd name="T26" fmla="*/ 0 w 476"/>
                  <a:gd name="T27" fmla="*/ 0 h 597"/>
                  <a:gd name="T28" fmla="*/ 0 w 476"/>
                  <a:gd name="T29" fmla="*/ 0 h 597"/>
                  <a:gd name="T30" fmla="*/ 0 w 476"/>
                  <a:gd name="T31" fmla="*/ 0 h 597"/>
                  <a:gd name="T32" fmla="*/ 0 w 476"/>
                  <a:gd name="T33" fmla="*/ 0 h 597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476" h="597">
                    <a:moveTo>
                      <a:pt x="238" y="0"/>
                    </a:moveTo>
                    <a:cubicBezTo>
                      <a:pt x="319" y="0"/>
                      <a:pt x="379" y="27"/>
                      <a:pt x="419" y="81"/>
                    </a:cubicBezTo>
                    <a:cubicBezTo>
                      <a:pt x="457" y="133"/>
                      <a:pt x="476" y="205"/>
                      <a:pt x="476" y="299"/>
                    </a:cubicBezTo>
                    <a:cubicBezTo>
                      <a:pt x="476" y="391"/>
                      <a:pt x="457" y="464"/>
                      <a:pt x="419" y="516"/>
                    </a:cubicBezTo>
                    <a:cubicBezTo>
                      <a:pt x="380" y="570"/>
                      <a:pt x="320" y="597"/>
                      <a:pt x="239" y="597"/>
                    </a:cubicBezTo>
                    <a:cubicBezTo>
                      <a:pt x="80" y="597"/>
                      <a:pt x="0" y="496"/>
                      <a:pt x="0" y="295"/>
                    </a:cubicBezTo>
                    <a:cubicBezTo>
                      <a:pt x="0" y="204"/>
                      <a:pt x="19" y="133"/>
                      <a:pt x="57" y="81"/>
                    </a:cubicBezTo>
                    <a:cubicBezTo>
                      <a:pt x="97" y="27"/>
                      <a:pt x="157" y="0"/>
                      <a:pt x="238" y="0"/>
                    </a:cubicBezTo>
                    <a:moveTo>
                      <a:pt x="238" y="59"/>
                    </a:moveTo>
                    <a:cubicBezTo>
                      <a:pt x="184" y="59"/>
                      <a:pt x="146" y="83"/>
                      <a:pt x="125" y="132"/>
                    </a:cubicBezTo>
                    <a:cubicBezTo>
                      <a:pt x="108" y="173"/>
                      <a:pt x="99" y="227"/>
                      <a:pt x="99" y="296"/>
                    </a:cubicBezTo>
                    <a:cubicBezTo>
                      <a:pt x="99" y="368"/>
                      <a:pt x="108" y="424"/>
                      <a:pt x="125" y="465"/>
                    </a:cubicBezTo>
                    <a:cubicBezTo>
                      <a:pt x="146" y="514"/>
                      <a:pt x="184" y="539"/>
                      <a:pt x="238" y="539"/>
                    </a:cubicBezTo>
                    <a:cubicBezTo>
                      <a:pt x="293" y="539"/>
                      <a:pt x="331" y="514"/>
                      <a:pt x="351" y="465"/>
                    </a:cubicBezTo>
                    <a:cubicBezTo>
                      <a:pt x="368" y="424"/>
                      <a:pt x="377" y="369"/>
                      <a:pt x="377" y="299"/>
                    </a:cubicBezTo>
                    <a:cubicBezTo>
                      <a:pt x="377" y="227"/>
                      <a:pt x="368" y="172"/>
                      <a:pt x="351" y="132"/>
                    </a:cubicBezTo>
                    <a:cubicBezTo>
                      <a:pt x="330" y="83"/>
                      <a:pt x="293" y="59"/>
                      <a:pt x="238" y="59"/>
                    </a:cubicBezTo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 sz="1600"/>
              </a:p>
            </p:txBody>
          </p:sp>
          <p:sp>
            <p:nvSpPr>
              <p:cNvPr id="24" name="Freeform 89"/>
              <p:cNvSpPr>
                <a:spLocks/>
              </p:cNvSpPr>
              <p:nvPr/>
            </p:nvSpPr>
            <p:spPr bwMode="gray">
              <a:xfrm>
                <a:off x="3162" y="1952"/>
                <a:ext cx="145" cy="113"/>
              </a:xfrm>
              <a:custGeom>
                <a:avLst/>
                <a:gdLst>
                  <a:gd name="T0" fmla="*/ 0 w 728"/>
                  <a:gd name="T1" fmla="*/ 0 h 565"/>
                  <a:gd name="T2" fmla="*/ 0 w 728"/>
                  <a:gd name="T3" fmla="*/ 0 h 565"/>
                  <a:gd name="T4" fmla="*/ 0 w 728"/>
                  <a:gd name="T5" fmla="*/ 0 h 565"/>
                  <a:gd name="T6" fmla="*/ 0 w 728"/>
                  <a:gd name="T7" fmla="*/ 0 h 565"/>
                  <a:gd name="T8" fmla="*/ 0 w 728"/>
                  <a:gd name="T9" fmla="*/ 0 h 565"/>
                  <a:gd name="T10" fmla="*/ 0 w 728"/>
                  <a:gd name="T11" fmla="*/ 0 h 565"/>
                  <a:gd name="T12" fmla="*/ 0 w 728"/>
                  <a:gd name="T13" fmla="*/ 0 h 565"/>
                  <a:gd name="T14" fmla="*/ 0 w 728"/>
                  <a:gd name="T15" fmla="*/ 0 h 565"/>
                  <a:gd name="T16" fmla="*/ 0 w 728"/>
                  <a:gd name="T17" fmla="*/ 0 h 565"/>
                  <a:gd name="T18" fmla="*/ 0 w 728"/>
                  <a:gd name="T19" fmla="*/ 0 h 565"/>
                  <a:gd name="T20" fmla="*/ 0 w 728"/>
                  <a:gd name="T21" fmla="*/ 0 h 565"/>
                  <a:gd name="T22" fmla="*/ 0 w 728"/>
                  <a:gd name="T23" fmla="*/ 0 h 565"/>
                  <a:gd name="T24" fmla="*/ 0 w 728"/>
                  <a:gd name="T25" fmla="*/ 0 h 565"/>
                  <a:gd name="T26" fmla="*/ 0 w 728"/>
                  <a:gd name="T27" fmla="*/ 0 h 565"/>
                  <a:gd name="T28" fmla="*/ 0 w 728"/>
                  <a:gd name="T29" fmla="*/ 0 h 565"/>
                  <a:gd name="T30" fmla="*/ 0 w 728"/>
                  <a:gd name="T31" fmla="*/ 0 h 565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728" h="565">
                    <a:moveTo>
                      <a:pt x="159" y="565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97" y="0"/>
                      <a:pt x="97" y="0"/>
                      <a:pt x="97" y="0"/>
                    </a:cubicBezTo>
                    <a:cubicBezTo>
                      <a:pt x="217" y="461"/>
                      <a:pt x="217" y="461"/>
                      <a:pt x="217" y="461"/>
                    </a:cubicBezTo>
                    <a:cubicBezTo>
                      <a:pt x="323" y="0"/>
                      <a:pt x="323" y="0"/>
                      <a:pt x="323" y="0"/>
                    </a:cubicBezTo>
                    <a:cubicBezTo>
                      <a:pt x="418" y="0"/>
                      <a:pt x="418" y="0"/>
                      <a:pt x="418" y="0"/>
                    </a:cubicBezTo>
                    <a:cubicBezTo>
                      <a:pt x="529" y="461"/>
                      <a:pt x="529" y="461"/>
                      <a:pt x="529" y="461"/>
                    </a:cubicBezTo>
                    <a:cubicBezTo>
                      <a:pt x="649" y="0"/>
                      <a:pt x="649" y="0"/>
                      <a:pt x="649" y="0"/>
                    </a:cubicBezTo>
                    <a:cubicBezTo>
                      <a:pt x="728" y="0"/>
                      <a:pt x="728" y="0"/>
                      <a:pt x="728" y="0"/>
                    </a:cubicBezTo>
                    <a:cubicBezTo>
                      <a:pt x="568" y="565"/>
                      <a:pt x="568" y="565"/>
                      <a:pt x="568" y="565"/>
                    </a:cubicBezTo>
                    <a:cubicBezTo>
                      <a:pt x="472" y="565"/>
                      <a:pt x="472" y="565"/>
                      <a:pt x="472" y="565"/>
                    </a:cubicBezTo>
                    <a:cubicBezTo>
                      <a:pt x="388" y="199"/>
                      <a:pt x="388" y="199"/>
                      <a:pt x="388" y="199"/>
                    </a:cubicBezTo>
                    <a:cubicBezTo>
                      <a:pt x="381" y="173"/>
                      <a:pt x="374" y="135"/>
                      <a:pt x="366" y="84"/>
                    </a:cubicBezTo>
                    <a:cubicBezTo>
                      <a:pt x="360" y="125"/>
                      <a:pt x="353" y="163"/>
                      <a:pt x="345" y="199"/>
                    </a:cubicBezTo>
                    <a:cubicBezTo>
                      <a:pt x="260" y="565"/>
                      <a:pt x="260" y="565"/>
                      <a:pt x="260" y="565"/>
                    </a:cubicBezTo>
                    <a:lnTo>
                      <a:pt x="159" y="56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 sz="1600"/>
              </a:p>
            </p:txBody>
          </p:sp>
          <p:sp>
            <p:nvSpPr>
              <p:cNvPr id="25" name="Freeform 90"/>
              <p:cNvSpPr>
                <a:spLocks/>
              </p:cNvSpPr>
              <p:nvPr/>
            </p:nvSpPr>
            <p:spPr bwMode="gray">
              <a:xfrm>
                <a:off x="3365" y="1952"/>
                <a:ext cx="146" cy="113"/>
              </a:xfrm>
              <a:custGeom>
                <a:avLst/>
                <a:gdLst>
                  <a:gd name="T0" fmla="*/ 0 w 728"/>
                  <a:gd name="T1" fmla="*/ 0 h 565"/>
                  <a:gd name="T2" fmla="*/ 0 w 728"/>
                  <a:gd name="T3" fmla="*/ 0 h 565"/>
                  <a:gd name="T4" fmla="*/ 0 w 728"/>
                  <a:gd name="T5" fmla="*/ 0 h 565"/>
                  <a:gd name="T6" fmla="*/ 0 w 728"/>
                  <a:gd name="T7" fmla="*/ 0 h 565"/>
                  <a:gd name="T8" fmla="*/ 0 w 728"/>
                  <a:gd name="T9" fmla="*/ 0 h 565"/>
                  <a:gd name="T10" fmla="*/ 0 w 728"/>
                  <a:gd name="T11" fmla="*/ 0 h 565"/>
                  <a:gd name="T12" fmla="*/ 0 w 728"/>
                  <a:gd name="T13" fmla="*/ 0 h 565"/>
                  <a:gd name="T14" fmla="*/ 0 w 728"/>
                  <a:gd name="T15" fmla="*/ 0 h 565"/>
                  <a:gd name="T16" fmla="*/ 0 w 728"/>
                  <a:gd name="T17" fmla="*/ 0 h 565"/>
                  <a:gd name="T18" fmla="*/ 0 w 728"/>
                  <a:gd name="T19" fmla="*/ 0 h 565"/>
                  <a:gd name="T20" fmla="*/ 0 w 728"/>
                  <a:gd name="T21" fmla="*/ 0 h 565"/>
                  <a:gd name="T22" fmla="*/ 0 w 728"/>
                  <a:gd name="T23" fmla="*/ 0 h 565"/>
                  <a:gd name="T24" fmla="*/ 0 w 728"/>
                  <a:gd name="T25" fmla="*/ 0 h 565"/>
                  <a:gd name="T26" fmla="*/ 0 w 728"/>
                  <a:gd name="T27" fmla="*/ 0 h 565"/>
                  <a:gd name="T28" fmla="*/ 0 w 728"/>
                  <a:gd name="T29" fmla="*/ 0 h 565"/>
                  <a:gd name="T30" fmla="*/ 0 w 728"/>
                  <a:gd name="T31" fmla="*/ 0 h 565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728" h="565">
                    <a:moveTo>
                      <a:pt x="160" y="565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98" y="0"/>
                      <a:pt x="98" y="0"/>
                      <a:pt x="98" y="0"/>
                    </a:cubicBezTo>
                    <a:cubicBezTo>
                      <a:pt x="217" y="461"/>
                      <a:pt x="217" y="461"/>
                      <a:pt x="217" y="461"/>
                    </a:cubicBezTo>
                    <a:cubicBezTo>
                      <a:pt x="323" y="0"/>
                      <a:pt x="323" y="0"/>
                      <a:pt x="323" y="0"/>
                    </a:cubicBezTo>
                    <a:cubicBezTo>
                      <a:pt x="419" y="0"/>
                      <a:pt x="419" y="0"/>
                      <a:pt x="419" y="0"/>
                    </a:cubicBezTo>
                    <a:cubicBezTo>
                      <a:pt x="530" y="461"/>
                      <a:pt x="530" y="461"/>
                      <a:pt x="530" y="461"/>
                    </a:cubicBezTo>
                    <a:cubicBezTo>
                      <a:pt x="650" y="0"/>
                      <a:pt x="650" y="0"/>
                      <a:pt x="650" y="0"/>
                    </a:cubicBezTo>
                    <a:cubicBezTo>
                      <a:pt x="728" y="0"/>
                      <a:pt x="728" y="0"/>
                      <a:pt x="728" y="0"/>
                    </a:cubicBezTo>
                    <a:cubicBezTo>
                      <a:pt x="569" y="565"/>
                      <a:pt x="569" y="565"/>
                      <a:pt x="569" y="565"/>
                    </a:cubicBezTo>
                    <a:cubicBezTo>
                      <a:pt x="473" y="565"/>
                      <a:pt x="473" y="565"/>
                      <a:pt x="473" y="565"/>
                    </a:cubicBezTo>
                    <a:cubicBezTo>
                      <a:pt x="388" y="199"/>
                      <a:pt x="388" y="199"/>
                      <a:pt x="388" y="199"/>
                    </a:cubicBezTo>
                    <a:cubicBezTo>
                      <a:pt x="382" y="173"/>
                      <a:pt x="375" y="135"/>
                      <a:pt x="367" y="84"/>
                    </a:cubicBezTo>
                    <a:cubicBezTo>
                      <a:pt x="361" y="125"/>
                      <a:pt x="354" y="163"/>
                      <a:pt x="345" y="199"/>
                    </a:cubicBezTo>
                    <a:cubicBezTo>
                      <a:pt x="261" y="565"/>
                      <a:pt x="261" y="565"/>
                      <a:pt x="261" y="565"/>
                    </a:cubicBezTo>
                    <a:lnTo>
                      <a:pt x="160" y="56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 sz="1600"/>
              </a:p>
            </p:txBody>
          </p:sp>
          <p:sp>
            <p:nvSpPr>
              <p:cNvPr id="26" name="Freeform 91"/>
              <p:cNvSpPr>
                <a:spLocks noEditPoints="1"/>
              </p:cNvSpPr>
              <p:nvPr/>
            </p:nvSpPr>
            <p:spPr bwMode="gray">
              <a:xfrm>
                <a:off x="3530" y="1911"/>
                <a:ext cx="24" cy="154"/>
              </a:xfrm>
              <a:custGeom>
                <a:avLst/>
                <a:gdLst>
                  <a:gd name="T0" fmla="*/ 0 w 118"/>
                  <a:gd name="T1" fmla="*/ 0 h 772"/>
                  <a:gd name="T2" fmla="*/ 0 w 118"/>
                  <a:gd name="T3" fmla="*/ 0 h 772"/>
                  <a:gd name="T4" fmla="*/ 0 w 118"/>
                  <a:gd name="T5" fmla="*/ 0 h 772"/>
                  <a:gd name="T6" fmla="*/ 0 w 118"/>
                  <a:gd name="T7" fmla="*/ 0 h 772"/>
                  <a:gd name="T8" fmla="*/ 0 w 118"/>
                  <a:gd name="T9" fmla="*/ 0 h 772"/>
                  <a:gd name="T10" fmla="*/ 0 w 118"/>
                  <a:gd name="T11" fmla="*/ 0 h 772"/>
                  <a:gd name="T12" fmla="*/ 0 w 118"/>
                  <a:gd name="T13" fmla="*/ 0 h 772"/>
                  <a:gd name="T14" fmla="*/ 0 w 118"/>
                  <a:gd name="T15" fmla="*/ 0 h 772"/>
                  <a:gd name="T16" fmla="*/ 0 w 118"/>
                  <a:gd name="T17" fmla="*/ 0 h 772"/>
                  <a:gd name="T18" fmla="*/ 0 w 118"/>
                  <a:gd name="T19" fmla="*/ 0 h 772"/>
                  <a:gd name="T20" fmla="*/ 0 w 118"/>
                  <a:gd name="T21" fmla="*/ 0 h 772"/>
                  <a:gd name="T22" fmla="*/ 0 w 118"/>
                  <a:gd name="T23" fmla="*/ 0 h 772"/>
                  <a:gd name="T24" fmla="*/ 0 w 118"/>
                  <a:gd name="T25" fmla="*/ 0 h 772"/>
                  <a:gd name="T26" fmla="*/ 0 w 118"/>
                  <a:gd name="T27" fmla="*/ 0 h 772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118" h="772">
                    <a:moveTo>
                      <a:pt x="59" y="0"/>
                    </a:moveTo>
                    <a:cubicBezTo>
                      <a:pt x="77" y="0"/>
                      <a:pt x="91" y="6"/>
                      <a:pt x="103" y="19"/>
                    </a:cubicBezTo>
                    <a:cubicBezTo>
                      <a:pt x="113" y="31"/>
                      <a:pt x="118" y="44"/>
                      <a:pt x="118" y="59"/>
                    </a:cubicBezTo>
                    <a:cubicBezTo>
                      <a:pt x="118" y="77"/>
                      <a:pt x="112" y="91"/>
                      <a:pt x="99" y="103"/>
                    </a:cubicBezTo>
                    <a:cubicBezTo>
                      <a:pt x="88" y="113"/>
                      <a:pt x="74" y="118"/>
                      <a:pt x="59" y="118"/>
                    </a:cubicBezTo>
                    <a:cubicBezTo>
                      <a:pt x="41" y="118"/>
                      <a:pt x="27" y="112"/>
                      <a:pt x="15" y="99"/>
                    </a:cubicBezTo>
                    <a:cubicBezTo>
                      <a:pt x="5" y="88"/>
                      <a:pt x="0" y="74"/>
                      <a:pt x="0" y="58"/>
                    </a:cubicBezTo>
                    <a:cubicBezTo>
                      <a:pt x="0" y="41"/>
                      <a:pt x="7" y="27"/>
                      <a:pt x="20" y="15"/>
                    </a:cubicBezTo>
                    <a:cubicBezTo>
                      <a:pt x="31" y="5"/>
                      <a:pt x="44" y="0"/>
                      <a:pt x="59" y="0"/>
                    </a:cubicBezTo>
                    <a:moveTo>
                      <a:pt x="12" y="207"/>
                    </a:moveTo>
                    <a:cubicBezTo>
                      <a:pt x="109" y="207"/>
                      <a:pt x="109" y="207"/>
                      <a:pt x="109" y="207"/>
                    </a:cubicBezTo>
                    <a:cubicBezTo>
                      <a:pt x="109" y="772"/>
                      <a:pt x="109" y="772"/>
                      <a:pt x="109" y="772"/>
                    </a:cubicBezTo>
                    <a:cubicBezTo>
                      <a:pt x="12" y="772"/>
                      <a:pt x="12" y="772"/>
                      <a:pt x="12" y="772"/>
                    </a:cubicBezTo>
                    <a:lnTo>
                      <a:pt x="12" y="20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 sz="1600"/>
              </a:p>
            </p:txBody>
          </p:sp>
          <p:sp>
            <p:nvSpPr>
              <p:cNvPr id="27" name="Freeform 92"/>
              <p:cNvSpPr>
                <a:spLocks/>
              </p:cNvSpPr>
              <p:nvPr/>
            </p:nvSpPr>
            <p:spPr bwMode="gray">
              <a:xfrm>
                <a:off x="3587" y="1922"/>
                <a:ext cx="50" cy="143"/>
              </a:xfrm>
              <a:custGeom>
                <a:avLst/>
                <a:gdLst>
                  <a:gd name="T0" fmla="*/ 0 w 248"/>
                  <a:gd name="T1" fmla="*/ 0 h 718"/>
                  <a:gd name="T2" fmla="*/ 0 w 248"/>
                  <a:gd name="T3" fmla="*/ 0 h 718"/>
                  <a:gd name="T4" fmla="*/ 0 w 248"/>
                  <a:gd name="T5" fmla="*/ 0 h 718"/>
                  <a:gd name="T6" fmla="*/ 0 w 248"/>
                  <a:gd name="T7" fmla="*/ 0 h 718"/>
                  <a:gd name="T8" fmla="*/ 0 w 248"/>
                  <a:gd name="T9" fmla="*/ 0 h 718"/>
                  <a:gd name="T10" fmla="*/ 0 w 248"/>
                  <a:gd name="T11" fmla="*/ 0 h 718"/>
                  <a:gd name="T12" fmla="*/ 0 w 248"/>
                  <a:gd name="T13" fmla="*/ 0 h 718"/>
                  <a:gd name="T14" fmla="*/ 0 w 248"/>
                  <a:gd name="T15" fmla="*/ 0 h 718"/>
                  <a:gd name="T16" fmla="*/ 0 w 248"/>
                  <a:gd name="T17" fmla="*/ 0 h 718"/>
                  <a:gd name="T18" fmla="*/ 0 w 248"/>
                  <a:gd name="T19" fmla="*/ 0 h 718"/>
                  <a:gd name="T20" fmla="*/ 0 w 248"/>
                  <a:gd name="T21" fmla="*/ 0 h 718"/>
                  <a:gd name="T22" fmla="*/ 0 w 248"/>
                  <a:gd name="T23" fmla="*/ 0 h 718"/>
                  <a:gd name="T24" fmla="*/ 0 w 248"/>
                  <a:gd name="T25" fmla="*/ 0 h 718"/>
                  <a:gd name="T26" fmla="*/ 0 w 248"/>
                  <a:gd name="T27" fmla="*/ 0 h 718"/>
                  <a:gd name="T28" fmla="*/ 0 w 248"/>
                  <a:gd name="T29" fmla="*/ 0 h 718"/>
                  <a:gd name="T30" fmla="*/ 0 w 248"/>
                  <a:gd name="T31" fmla="*/ 0 h 718"/>
                  <a:gd name="T32" fmla="*/ 0 w 248"/>
                  <a:gd name="T33" fmla="*/ 0 h 71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248" h="718">
                    <a:moveTo>
                      <a:pt x="0" y="0"/>
                    </a:moveTo>
                    <a:cubicBezTo>
                      <a:pt x="96" y="0"/>
                      <a:pt x="96" y="0"/>
                      <a:pt x="96" y="0"/>
                    </a:cubicBezTo>
                    <a:cubicBezTo>
                      <a:pt x="96" y="153"/>
                      <a:pt x="96" y="153"/>
                      <a:pt x="96" y="153"/>
                    </a:cubicBezTo>
                    <a:cubicBezTo>
                      <a:pt x="248" y="153"/>
                      <a:pt x="248" y="153"/>
                      <a:pt x="248" y="153"/>
                    </a:cubicBezTo>
                    <a:cubicBezTo>
                      <a:pt x="248" y="215"/>
                      <a:pt x="248" y="215"/>
                      <a:pt x="248" y="215"/>
                    </a:cubicBezTo>
                    <a:cubicBezTo>
                      <a:pt x="96" y="215"/>
                      <a:pt x="96" y="215"/>
                      <a:pt x="96" y="215"/>
                    </a:cubicBezTo>
                    <a:cubicBezTo>
                      <a:pt x="96" y="515"/>
                      <a:pt x="96" y="515"/>
                      <a:pt x="96" y="515"/>
                    </a:cubicBezTo>
                    <a:cubicBezTo>
                      <a:pt x="96" y="572"/>
                      <a:pt x="105" y="610"/>
                      <a:pt x="122" y="630"/>
                    </a:cubicBezTo>
                    <a:cubicBezTo>
                      <a:pt x="134" y="644"/>
                      <a:pt x="151" y="652"/>
                      <a:pt x="175" y="655"/>
                    </a:cubicBezTo>
                    <a:cubicBezTo>
                      <a:pt x="183" y="656"/>
                      <a:pt x="197" y="657"/>
                      <a:pt x="217" y="657"/>
                    </a:cubicBezTo>
                    <a:cubicBezTo>
                      <a:pt x="248" y="657"/>
                      <a:pt x="248" y="657"/>
                      <a:pt x="248" y="657"/>
                    </a:cubicBezTo>
                    <a:cubicBezTo>
                      <a:pt x="248" y="718"/>
                      <a:pt x="248" y="718"/>
                      <a:pt x="248" y="718"/>
                    </a:cubicBezTo>
                    <a:cubicBezTo>
                      <a:pt x="196" y="718"/>
                      <a:pt x="196" y="718"/>
                      <a:pt x="196" y="718"/>
                    </a:cubicBezTo>
                    <a:cubicBezTo>
                      <a:pt x="155" y="718"/>
                      <a:pt x="122" y="715"/>
                      <a:pt x="99" y="709"/>
                    </a:cubicBezTo>
                    <a:cubicBezTo>
                      <a:pt x="49" y="695"/>
                      <a:pt x="19" y="663"/>
                      <a:pt x="8" y="613"/>
                    </a:cubicBezTo>
                    <a:cubicBezTo>
                      <a:pt x="3" y="586"/>
                      <a:pt x="0" y="549"/>
                      <a:pt x="0" y="501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 sz="1600"/>
              </a:p>
            </p:txBody>
          </p:sp>
          <p:sp>
            <p:nvSpPr>
              <p:cNvPr id="28" name="Freeform 93"/>
              <p:cNvSpPr>
                <a:spLocks/>
              </p:cNvSpPr>
              <p:nvPr/>
            </p:nvSpPr>
            <p:spPr bwMode="gray">
              <a:xfrm>
                <a:off x="3660" y="1895"/>
                <a:ext cx="86" cy="170"/>
              </a:xfrm>
              <a:custGeom>
                <a:avLst/>
                <a:gdLst>
                  <a:gd name="T0" fmla="*/ 0 w 429"/>
                  <a:gd name="T1" fmla="*/ 0 h 851"/>
                  <a:gd name="T2" fmla="*/ 0 w 429"/>
                  <a:gd name="T3" fmla="*/ 0 h 851"/>
                  <a:gd name="T4" fmla="*/ 0 w 429"/>
                  <a:gd name="T5" fmla="*/ 0 h 851"/>
                  <a:gd name="T6" fmla="*/ 0 w 429"/>
                  <a:gd name="T7" fmla="*/ 0 h 851"/>
                  <a:gd name="T8" fmla="*/ 0 w 429"/>
                  <a:gd name="T9" fmla="*/ 0 h 851"/>
                  <a:gd name="T10" fmla="*/ 0 w 429"/>
                  <a:gd name="T11" fmla="*/ 0 h 851"/>
                  <a:gd name="T12" fmla="*/ 0 w 429"/>
                  <a:gd name="T13" fmla="*/ 0 h 851"/>
                  <a:gd name="T14" fmla="*/ 0 w 429"/>
                  <a:gd name="T15" fmla="*/ 0 h 851"/>
                  <a:gd name="T16" fmla="*/ 0 w 429"/>
                  <a:gd name="T17" fmla="*/ 0 h 851"/>
                  <a:gd name="T18" fmla="*/ 0 w 429"/>
                  <a:gd name="T19" fmla="*/ 0 h 851"/>
                  <a:gd name="T20" fmla="*/ 0 w 429"/>
                  <a:gd name="T21" fmla="*/ 0 h 851"/>
                  <a:gd name="T22" fmla="*/ 0 w 429"/>
                  <a:gd name="T23" fmla="*/ 0 h 851"/>
                  <a:gd name="T24" fmla="*/ 0 w 429"/>
                  <a:gd name="T25" fmla="*/ 0 h 851"/>
                  <a:gd name="T26" fmla="*/ 0 w 429"/>
                  <a:gd name="T27" fmla="*/ 0 h 851"/>
                  <a:gd name="T28" fmla="*/ 0 w 429"/>
                  <a:gd name="T29" fmla="*/ 0 h 851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429" h="851">
                    <a:moveTo>
                      <a:pt x="0" y="851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96" y="0"/>
                      <a:pt x="96" y="0"/>
                      <a:pt x="96" y="0"/>
                    </a:cubicBezTo>
                    <a:cubicBezTo>
                      <a:pt x="96" y="300"/>
                      <a:pt x="96" y="300"/>
                      <a:pt x="96" y="300"/>
                    </a:cubicBezTo>
                    <a:cubicBezTo>
                      <a:pt x="147" y="280"/>
                      <a:pt x="194" y="270"/>
                      <a:pt x="239" y="270"/>
                    </a:cubicBezTo>
                    <a:cubicBezTo>
                      <a:pt x="328" y="270"/>
                      <a:pt x="386" y="300"/>
                      <a:pt x="411" y="359"/>
                    </a:cubicBezTo>
                    <a:cubicBezTo>
                      <a:pt x="423" y="386"/>
                      <a:pt x="429" y="434"/>
                      <a:pt x="429" y="504"/>
                    </a:cubicBezTo>
                    <a:cubicBezTo>
                      <a:pt x="429" y="851"/>
                      <a:pt x="429" y="851"/>
                      <a:pt x="429" y="851"/>
                    </a:cubicBezTo>
                    <a:cubicBezTo>
                      <a:pt x="332" y="851"/>
                      <a:pt x="332" y="851"/>
                      <a:pt x="332" y="851"/>
                    </a:cubicBezTo>
                    <a:cubicBezTo>
                      <a:pt x="332" y="489"/>
                      <a:pt x="332" y="489"/>
                      <a:pt x="332" y="489"/>
                    </a:cubicBezTo>
                    <a:cubicBezTo>
                      <a:pt x="332" y="435"/>
                      <a:pt x="326" y="397"/>
                      <a:pt x="315" y="374"/>
                    </a:cubicBezTo>
                    <a:cubicBezTo>
                      <a:pt x="300" y="344"/>
                      <a:pt x="271" y="329"/>
                      <a:pt x="230" y="329"/>
                    </a:cubicBezTo>
                    <a:cubicBezTo>
                      <a:pt x="192" y="329"/>
                      <a:pt x="147" y="340"/>
                      <a:pt x="96" y="363"/>
                    </a:cubicBezTo>
                    <a:cubicBezTo>
                      <a:pt x="96" y="851"/>
                      <a:pt x="96" y="851"/>
                      <a:pt x="96" y="851"/>
                    </a:cubicBezTo>
                    <a:lnTo>
                      <a:pt x="0" y="85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 sz="1600"/>
              </a:p>
            </p:txBody>
          </p:sp>
          <p:sp>
            <p:nvSpPr>
              <p:cNvPr id="29" name="Freeform 94"/>
              <p:cNvSpPr>
                <a:spLocks/>
              </p:cNvSpPr>
              <p:nvPr/>
            </p:nvSpPr>
            <p:spPr bwMode="gray">
              <a:xfrm>
                <a:off x="3818" y="1952"/>
                <a:ext cx="95" cy="168"/>
              </a:xfrm>
              <a:custGeom>
                <a:avLst/>
                <a:gdLst>
                  <a:gd name="T0" fmla="*/ 42 w 95"/>
                  <a:gd name="T1" fmla="*/ 115 h 168"/>
                  <a:gd name="T2" fmla="*/ 0 w 95"/>
                  <a:gd name="T3" fmla="*/ 0 h 168"/>
                  <a:gd name="T4" fmla="*/ 20 w 95"/>
                  <a:gd name="T5" fmla="*/ 0 h 168"/>
                  <a:gd name="T6" fmla="*/ 50 w 95"/>
                  <a:gd name="T7" fmla="*/ 91 h 168"/>
                  <a:gd name="T8" fmla="*/ 78 w 95"/>
                  <a:gd name="T9" fmla="*/ 0 h 168"/>
                  <a:gd name="T10" fmla="*/ 95 w 95"/>
                  <a:gd name="T11" fmla="*/ 0 h 168"/>
                  <a:gd name="T12" fmla="*/ 38 w 95"/>
                  <a:gd name="T13" fmla="*/ 168 h 168"/>
                  <a:gd name="T14" fmla="*/ 21 w 95"/>
                  <a:gd name="T15" fmla="*/ 168 h 168"/>
                  <a:gd name="T16" fmla="*/ 42 w 95"/>
                  <a:gd name="T17" fmla="*/ 115 h 16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95" h="168">
                    <a:moveTo>
                      <a:pt x="42" y="115"/>
                    </a:moveTo>
                    <a:lnTo>
                      <a:pt x="0" y="0"/>
                    </a:lnTo>
                    <a:lnTo>
                      <a:pt x="20" y="0"/>
                    </a:lnTo>
                    <a:lnTo>
                      <a:pt x="50" y="91"/>
                    </a:lnTo>
                    <a:lnTo>
                      <a:pt x="78" y="0"/>
                    </a:lnTo>
                    <a:lnTo>
                      <a:pt x="95" y="0"/>
                    </a:lnTo>
                    <a:lnTo>
                      <a:pt x="38" y="168"/>
                    </a:lnTo>
                    <a:lnTo>
                      <a:pt x="21" y="168"/>
                    </a:lnTo>
                    <a:lnTo>
                      <a:pt x="42" y="11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 sz="1600"/>
              </a:p>
            </p:txBody>
          </p:sp>
          <p:sp>
            <p:nvSpPr>
              <p:cNvPr id="30" name="Freeform 95"/>
              <p:cNvSpPr>
                <a:spLocks noEditPoints="1"/>
              </p:cNvSpPr>
              <p:nvPr/>
            </p:nvSpPr>
            <p:spPr bwMode="gray">
              <a:xfrm>
                <a:off x="3925" y="1949"/>
                <a:ext cx="95" cy="120"/>
              </a:xfrm>
              <a:custGeom>
                <a:avLst/>
                <a:gdLst>
                  <a:gd name="T0" fmla="*/ 0 w 475"/>
                  <a:gd name="T1" fmla="*/ 0 h 597"/>
                  <a:gd name="T2" fmla="*/ 0 w 475"/>
                  <a:gd name="T3" fmla="*/ 0 h 597"/>
                  <a:gd name="T4" fmla="*/ 0 w 475"/>
                  <a:gd name="T5" fmla="*/ 0 h 597"/>
                  <a:gd name="T6" fmla="*/ 0 w 475"/>
                  <a:gd name="T7" fmla="*/ 0 h 597"/>
                  <a:gd name="T8" fmla="*/ 0 w 475"/>
                  <a:gd name="T9" fmla="*/ 0 h 597"/>
                  <a:gd name="T10" fmla="*/ 0 w 475"/>
                  <a:gd name="T11" fmla="*/ 0 h 597"/>
                  <a:gd name="T12" fmla="*/ 0 w 475"/>
                  <a:gd name="T13" fmla="*/ 0 h 597"/>
                  <a:gd name="T14" fmla="*/ 0 w 475"/>
                  <a:gd name="T15" fmla="*/ 0 h 597"/>
                  <a:gd name="T16" fmla="*/ 0 w 475"/>
                  <a:gd name="T17" fmla="*/ 0 h 597"/>
                  <a:gd name="T18" fmla="*/ 0 w 475"/>
                  <a:gd name="T19" fmla="*/ 0 h 597"/>
                  <a:gd name="T20" fmla="*/ 0 w 475"/>
                  <a:gd name="T21" fmla="*/ 0 h 597"/>
                  <a:gd name="T22" fmla="*/ 0 w 475"/>
                  <a:gd name="T23" fmla="*/ 0 h 597"/>
                  <a:gd name="T24" fmla="*/ 0 w 475"/>
                  <a:gd name="T25" fmla="*/ 0 h 597"/>
                  <a:gd name="T26" fmla="*/ 0 w 475"/>
                  <a:gd name="T27" fmla="*/ 0 h 597"/>
                  <a:gd name="T28" fmla="*/ 0 w 475"/>
                  <a:gd name="T29" fmla="*/ 0 h 597"/>
                  <a:gd name="T30" fmla="*/ 0 w 475"/>
                  <a:gd name="T31" fmla="*/ 0 h 597"/>
                  <a:gd name="T32" fmla="*/ 0 w 475"/>
                  <a:gd name="T33" fmla="*/ 0 h 597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475" h="597">
                    <a:moveTo>
                      <a:pt x="238" y="0"/>
                    </a:moveTo>
                    <a:cubicBezTo>
                      <a:pt x="319" y="0"/>
                      <a:pt x="379" y="27"/>
                      <a:pt x="418" y="81"/>
                    </a:cubicBezTo>
                    <a:cubicBezTo>
                      <a:pt x="456" y="133"/>
                      <a:pt x="475" y="205"/>
                      <a:pt x="475" y="299"/>
                    </a:cubicBezTo>
                    <a:cubicBezTo>
                      <a:pt x="475" y="391"/>
                      <a:pt x="456" y="464"/>
                      <a:pt x="418" y="516"/>
                    </a:cubicBezTo>
                    <a:cubicBezTo>
                      <a:pt x="380" y="570"/>
                      <a:pt x="320" y="597"/>
                      <a:pt x="238" y="597"/>
                    </a:cubicBezTo>
                    <a:cubicBezTo>
                      <a:pt x="79" y="597"/>
                      <a:pt x="0" y="496"/>
                      <a:pt x="0" y="295"/>
                    </a:cubicBezTo>
                    <a:cubicBezTo>
                      <a:pt x="0" y="204"/>
                      <a:pt x="19" y="133"/>
                      <a:pt x="57" y="81"/>
                    </a:cubicBezTo>
                    <a:cubicBezTo>
                      <a:pt x="96" y="27"/>
                      <a:pt x="157" y="0"/>
                      <a:pt x="238" y="0"/>
                    </a:cubicBezTo>
                    <a:moveTo>
                      <a:pt x="238" y="59"/>
                    </a:moveTo>
                    <a:cubicBezTo>
                      <a:pt x="183" y="59"/>
                      <a:pt x="145" y="83"/>
                      <a:pt x="124" y="132"/>
                    </a:cubicBezTo>
                    <a:cubicBezTo>
                      <a:pt x="107" y="173"/>
                      <a:pt x="98" y="227"/>
                      <a:pt x="98" y="296"/>
                    </a:cubicBezTo>
                    <a:cubicBezTo>
                      <a:pt x="98" y="368"/>
                      <a:pt x="107" y="424"/>
                      <a:pt x="124" y="465"/>
                    </a:cubicBezTo>
                    <a:cubicBezTo>
                      <a:pt x="145" y="514"/>
                      <a:pt x="183" y="539"/>
                      <a:pt x="238" y="539"/>
                    </a:cubicBezTo>
                    <a:cubicBezTo>
                      <a:pt x="292" y="539"/>
                      <a:pt x="330" y="514"/>
                      <a:pt x="351" y="465"/>
                    </a:cubicBezTo>
                    <a:cubicBezTo>
                      <a:pt x="368" y="424"/>
                      <a:pt x="376" y="369"/>
                      <a:pt x="376" y="299"/>
                    </a:cubicBezTo>
                    <a:cubicBezTo>
                      <a:pt x="376" y="227"/>
                      <a:pt x="368" y="172"/>
                      <a:pt x="351" y="132"/>
                    </a:cubicBezTo>
                    <a:cubicBezTo>
                      <a:pt x="329" y="83"/>
                      <a:pt x="292" y="59"/>
                      <a:pt x="238" y="59"/>
                    </a:cubicBezTo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 sz="1600"/>
              </a:p>
            </p:txBody>
          </p:sp>
          <p:sp>
            <p:nvSpPr>
              <p:cNvPr id="31" name="Freeform 96"/>
              <p:cNvSpPr>
                <a:spLocks/>
              </p:cNvSpPr>
              <p:nvPr/>
            </p:nvSpPr>
            <p:spPr bwMode="gray">
              <a:xfrm>
                <a:off x="4046" y="1952"/>
                <a:ext cx="83" cy="117"/>
              </a:xfrm>
              <a:custGeom>
                <a:avLst/>
                <a:gdLst>
                  <a:gd name="T0" fmla="*/ 0 w 412"/>
                  <a:gd name="T1" fmla="*/ 0 h 581"/>
                  <a:gd name="T2" fmla="*/ 0 w 412"/>
                  <a:gd name="T3" fmla="*/ 0 h 581"/>
                  <a:gd name="T4" fmla="*/ 0 w 412"/>
                  <a:gd name="T5" fmla="*/ 0 h 581"/>
                  <a:gd name="T6" fmla="*/ 0 w 412"/>
                  <a:gd name="T7" fmla="*/ 0 h 581"/>
                  <a:gd name="T8" fmla="*/ 0 w 412"/>
                  <a:gd name="T9" fmla="*/ 0 h 581"/>
                  <a:gd name="T10" fmla="*/ 0 w 412"/>
                  <a:gd name="T11" fmla="*/ 0 h 581"/>
                  <a:gd name="T12" fmla="*/ 0 w 412"/>
                  <a:gd name="T13" fmla="*/ 0 h 581"/>
                  <a:gd name="T14" fmla="*/ 0 w 412"/>
                  <a:gd name="T15" fmla="*/ 0 h 581"/>
                  <a:gd name="T16" fmla="*/ 0 w 412"/>
                  <a:gd name="T17" fmla="*/ 0 h 581"/>
                  <a:gd name="T18" fmla="*/ 0 w 412"/>
                  <a:gd name="T19" fmla="*/ 0 h 581"/>
                  <a:gd name="T20" fmla="*/ 0 w 412"/>
                  <a:gd name="T21" fmla="*/ 0 h 581"/>
                  <a:gd name="T22" fmla="*/ 0 w 412"/>
                  <a:gd name="T23" fmla="*/ 0 h 581"/>
                  <a:gd name="T24" fmla="*/ 0 w 412"/>
                  <a:gd name="T25" fmla="*/ 0 h 581"/>
                  <a:gd name="T26" fmla="*/ 0 w 412"/>
                  <a:gd name="T27" fmla="*/ 0 h 581"/>
                  <a:gd name="T28" fmla="*/ 0 w 412"/>
                  <a:gd name="T29" fmla="*/ 0 h 581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412" h="581">
                    <a:moveTo>
                      <a:pt x="0" y="0"/>
                    </a:moveTo>
                    <a:cubicBezTo>
                      <a:pt x="96" y="0"/>
                      <a:pt x="96" y="0"/>
                      <a:pt x="96" y="0"/>
                    </a:cubicBezTo>
                    <a:cubicBezTo>
                      <a:pt x="96" y="349"/>
                      <a:pt x="96" y="349"/>
                      <a:pt x="96" y="349"/>
                    </a:cubicBezTo>
                    <a:cubicBezTo>
                      <a:pt x="96" y="413"/>
                      <a:pt x="102" y="456"/>
                      <a:pt x="114" y="477"/>
                    </a:cubicBezTo>
                    <a:cubicBezTo>
                      <a:pt x="123" y="495"/>
                      <a:pt x="136" y="507"/>
                      <a:pt x="154" y="514"/>
                    </a:cubicBezTo>
                    <a:cubicBezTo>
                      <a:pt x="168" y="520"/>
                      <a:pt x="189" y="523"/>
                      <a:pt x="216" y="523"/>
                    </a:cubicBezTo>
                    <a:cubicBezTo>
                      <a:pt x="248" y="523"/>
                      <a:pt x="281" y="518"/>
                      <a:pt x="316" y="508"/>
                    </a:cubicBezTo>
                    <a:cubicBezTo>
                      <a:pt x="316" y="0"/>
                      <a:pt x="316" y="0"/>
                      <a:pt x="316" y="0"/>
                    </a:cubicBezTo>
                    <a:cubicBezTo>
                      <a:pt x="412" y="0"/>
                      <a:pt x="412" y="0"/>
                      <a:pt x="412" y="0"/>
                    </a:cubicBezTo>
                    <a:cubicBezTo>
                      <a:pt x="412" y="556"/>
                      <a:pt x="412" y="556"/>
                      <a:pt x="412" y="556"/>
                    </a:cubicBezTo>
                    <a:cubicBezTo>
                      <a:pt x="341" y="573"/>
                      <a:pt x="273" y="581"/>
                      <a:pt x="210" y="581"/>
                    </a:cubicBezTo>
                    <a:cubicBezTo>
                      <a:pt x="146" y="581"/>
                      <a:pt x="98" y="571"/>
                      <a:pt x="67" y="551"/>
                    </a:cubicBezTo>
                    <a:cubicBezTo>
                      <a:pt x="32" y="528"/>
                      <a:pt x="11" y="493"/>
                      <a:pt x="4" y="445"/>
                    </a:cubicBezTo>
                    <a:cubicBezTo>
                      <a:pt x="1" y="422"/>
                      <a:pt x="0" y="393"/>
                      <a:pt x="0" y="356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 sz="1600"/>
              </a:p>
            </p:txBody>
          </p:sp>
          <p:sp>
            <p:nvSpPr>
              <p:cNvPr id="32" name="Freeform 97"/>
              <p:cNvSpPr>
                <a:spLocks/>
              </p:cNvSpPr>
              <p:nvPr/>
            </p:nvSpPr>
            <p:spPr bwMode="gray">
              <a:xfrm>
                <a:off x="2581" y="858"/>
                <a:ext cx="372" cy="287"/>
              </a:xfrm>
              <a:custGeom>
                <a:avLst/>
                <a:gdLst>
                  <a:gd name="T0" fmla="*/ 0 w 1858"/>
                  <a:gd name="T1" fmla="*/ 0 h 1434"/>
                  <a:gd name="T2" fmla="*/ 0 w 1858"/>
                  <a:gd name="T3" fmla="*/ 0 h 1434"/>
                  <a:gd name="T4" fmla="*/ 0 w 1858"/>
                  <a:gd name="T5" fmla="*/ 0 h 1434"/>
                  <a:gd name="T6" fmla="*/ 0 w 1858"/>
                  <a:gd name="T7" fmla="*/ 0 h 1434"/>
                  <a:gd name="T8" fmla="*/ 0 w 1858"/>
                  <a:gd name="T9" fmla="*/ 0 h 1434"/>
                  <a:gd name="T10" fmla="*/ 0 w 1858"/>
                  <a:gd name="T11" fmla="*/ 0 h 1434"/>
                  <a:gd name="T12" fmla="*/ 0 w 1858"/>
                  <a:gd name="T13" fmla="*/ 0 h 1434"/>
                  <a:gd name="T14" fmla="*/ 0 w 1858"/>
                  <a:gd name="T15" fmla="*/ 0 h 1434"/>
                  <a:gd name="T16" fmla="*/ 0 w 1858"/>
                  <a:gd name="T17" fmla="*/ 0 h 1434"/>
                  <a:gd name="T18" fmla="*/ 0 w 1858"/>
                  <a:gd name="T19" fmla="*/ 0 h 1434"/>
                  <a:gd name="T20" fmla="*/ 0 w 1858"/>
                  <a:gd name="T21" fmla="*/ 0 h 1434"/>
                  <a:gd name="T22" fmla="*/ 0 w 1858"/>
                  <a:gd name="T23" fmla="*/ 0 h 1434"/>
                  <a:gd name="T24" fmla="*/ 0 w 1858"/>
                  <a:gd name="T25" fmla="*/ 0 h 1434"/>
                  <a:gd name="T26" fmla="*/ 1 w 1858"/>
                  <a:gd name="T27" fmla="*/ 0 h 1434"/>
                  <a:gd name="T28" fmla="*/ 0 w 1858"/>
                  <a:gd name="T29" fmla="*/ 0 h 1434"/>
                  <a:gd name="T30" fmla="*/ 0 w 1858"/>
                  <a:gd name="T31" fmla="*/ 0 h 1434"/>
                  <a:gd name="T32" fmla="*/ 0 w 1858"/>
                  <a:gd name="T33" fmla="*/ 0 h 1434"/>
                  <a:gd name="T34" fmla="*/ 0 w 1858"/>
                  <a:gd name="T35" fmla="*/ 0 h 1434"/>
                  <a:gd name="T36" fmla="*/ 1 w 1858"/>
                  <a:gd name="T37" fmla="*/ 0 h 1434"/>
                  <a:gd name="T38" fmla="*/ 0 w 1858"/>
                  <a:gd name="T39" fmla="*/ 0 h 1434"/>
                  <a:gd name="T40" fmla="*/ 0 w 1858"/>
                  <a:gd name="T41" fmla="*/ 0 h 1434"/>
                  <a:gd name="T42" fmla="*/ 0 w 1858"/>
                  <a:gd name="T43" fmla="*/ 0 h 1434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1858" h="1434">
                    <a:moveTo>
                      <a:pt x="755" y="601"/>
                    </a:moveTo>
                    <a:cubicBezTo>
                      <a:pt x="687" y="541"/>
                      <a:pt x="578" y="505"/>
                      <a:pt x="470" y="505"/>
                    </a:cubicBezTo>
                    <a:cubicBezTo>
                      <a:pt x="212" y="504"/>
                      <a:pt x="2" y="707"/>
                      <a:pt x="1" y="970"/>
                    </a:cubicBezTo>
                    <a:cubicBezTo>
                      <a:pt x="0" y="1228"/>
                      <a:pt x="212" y="1433"/>
                      <a:pt x="470" y="1433"/>
                    </a:cubicBezTo>
                    <a:cubicBezTo>
                      <a:pt x="615" y="1434"/>
                      <a:pt x="741" y="1375"/>
                      <a:pt x="827" y="1272"/>
                    </a:cubicBezTo>
                    <a:cubicBezTo>
                      <a:pt x="827" y="1015"/>
                      <a:pt x="827" y="1015"/>
                      <a:pt x="827" y="1015"/>
                    </a:cubicBezTo>
                    <a:cubicBezTo>
                      <a:pt x="781" y="1095"/>
                      <a:pt x="689" y="1197"/>
                      <a:pt x="605" y="1232"/>
                    </a:cubicBezTo>
                    <a:cubicBezTo>
                      <a:pt x="563" y="1249"/>
                      <a:pt x="520" y="1260"/>
                      <a:pt x="470" y="1260"/>
                    </a:cubicBezTo>
                    <a:cubicBezTo>
                      <a:pt x="309" y="1260"/>
                      <a:pt x="176" y="1135"/>
                      <a:pt x="176" y="970"/>
                    </a:cubicBezTo>
                    <a:cubicBezTo>
                      <a:pt x="176" y="818"/>
                      <a:pt x="299" y="677"/>
                      <a:pt x="470" y="678"/>
                    </a:cubicBezTo>
                    <a:cubicBezTo>
                      <a:pt x="551" y="678"/>
                      <a:pt x="623" y="711"/>
                      <a:pt x="676" y="763"/>
                    </a:cubicBezTo>
                    <a:cubicBezTo>
                      <a:pt x="732" y="817"/>
                      <a:pt x="818" y="929"/>
                      <a:pt x="859" y="973"/>
                    </a:cubicBezTo>
                    <a:cubicBezTo>
                      <a:pt x="964" y="1086"/>
                      <a:pt x="1115" y="1157"/>
                      <a:pt x="1281" y="1157"/>
                    </a:cubicBezTo>
                    <a:cubicBezTo>
                      <a:pt x="1599" y="1158"/>
                      <a:pt x="1858" y="900"/>
                      <a:pt x="1858" y="582"/>
                    </a:cubicBezTo>
                    <a:cubicBezTo>
                      <a:pt x="1858" y="264"/>
                      <a:pt x="1599" y="0"/>
                      <a:pt x="1281" y="0"/>
                    </a:cubicBezTo>
                    <a:cubicBezTo>
                      <a:pt x="1096" y="0"/>
                      <a:pt x="933" y="96"/>
                      <a:pt x="827" y="231"/>
                    </a:cubicBezTo>
                    <a:cubicBezTo>
                      <a:pt x="827" y="577"/>
                      <a:pt x="827" y="577"/>
                      <a:pt x="827" y="577"/>
                    </a:cubicBezTo>
                    <a:cubicBezTo>
                      <a:pt x="908" y="358"/>
                      <a:pt x="1053" y="182"/>
                      <a:pt x="1281" y="182"/>
                    </a:cubicBezTo>
                    <a:cubicBezTo>
                      <a:pt x="1500" y="182"/>
                      <a:pt x="1677" y="363"/>
                      <a:pt x="1677" y="582"/>
                    </a:cubicBezTo>
                    <a:cubicBezTo>
                      <a:pt x="1676" y="801"/>
                      <a:pt x="1500" y="979"/>
                      <a:pt x="1281" y="978"/>
                    </a:cubicBezTo>
                    <a:cubicBezTo>
                      <a:pt x="1183" y="978"/>
                      <a:pt x="1093" y="942"/>
                      <a:pt x="1024" y="884"/>
                    </a:cubicBezTo>
                    <a:cubicBezTo>
                      <a:pt x="938" y="817"/>
                      <a:pt x="843" y="675"/>
                      <a:pt x="755" y="601"/>
                    </a:cubicBezTo>
                  </a:path>
                </a:pathLst>
              </a:custGeom>
              <a:solidFill>
                <a:srgbClr val="FF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 sz="1600"/>
              </a:p>
            </p:txBody>
          </p:sp>
          <p:sp>
            <p:nvSpPr>
              <p:cNvPr id="33" name="Freeform 98"/>
              <p:cNvSpPr>
                <a:spLocks/>
              </p:cNvSpPr>
              <p:nvPr/>
            </p:nvSpPr>
            <p:spPr bwMode="gray">
              <a:xfrm>
                <a:off x="1974" y="1170"/>
                <a:ext cx="256" cy="417"/>
              </a:xfrm>
              <a:custGeom>
                <a:avLst/>
                <a:gdLst>
                  <a:gd name="T0" fmla="*/ 0 w 1276"/>
                  <a:gd name="T1" fmla="*/ 0 h 2083"/>
                  <a:gd name="T2" fmla="*/ 0 w 1276"/>
                  <a:gd name="T3" fmla="*/ 0 h 2083"/>
                  <a:gd name="T4" fmla="*/ 0 w 1276"/>
                  <a:gd name="T5" fmla="*/ 0 h 2083"/>
                  <a:gd name="T6" fmla="*/ 0 w 1276"/>
                  <a:gd name="T7" fmla="*/ 0 h 2083"/>
                  <a:gd name="T8" fmla="*/ 0 w 1276"/>
                  <a:gd name="T9" fmla="*/ 0 h 2083"/>
                  <a:gd name="T10" fmla="*/ 0 w 1276"/>
                  <a:gd name="T11" fmla="*/ 0 h 2083"/>
                  <a:gd name="T12" fmla="*/ 0 w 1276"/>
                  <a:gd name="T13" fmla="*/ 0 h 2083"/>
                  <a:gd name="T14" fmla="*/ 0 w 1276"/>
                  <a:gd name="T15" fmla="*/ 0 h 2083"/>
                  <a:gd name="T16" fmla="*/ 0 w 1276"/>
                  <a:gd name="T17" fmla="*/ 0 h 2083"/>
                  <a:gd name="T18" fmla="*/ 0 w 1276"/>
                  <a:gd name="T19" fmla="*/ 0 h 2083"/>
                  <a:gd name="T20" fmla="*/ 0 w 1276"/>
                  <a:gd name="T21" fmla="*/ 1 h 2083"/>
                  <a:gd name="T22" fmla="*/ 0 w 1276"/>
                  <a:gd name="T23" fmla="*/ 1 h 2083"/>
                  <a:gd name="T24" fmla="*/ 0 w 1276"/>
                  <a:gd name="T25" fmla="*/ 1 h 2083"/>
                  <a:gd name="T26" fmla="*/ 0 w 1276"/>
                  <a:gd name="T27" fmla="*/ 1 h 2083"/>
                  <a:gd name="T28" fmla="*/ 0 w 1276"/>
                  <a:gd name="T29" fmla="*/ 0 h 2083"/>
                  <a:gd name="T30" fmla="*/ 0 w 1276"/>
                  <a:gd name="T31" fmla="*/ 0 h 2083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1276" h="2083">
                    <a:moveTo>
                      <a:pt x="0" y="0"/>
                    </a:moveTo>
                    <a:cubicBezTo>
                      <a:pt x="1276" y="0"/>
                      <a:pt x="1276" y="0"/>
                      <a:pt x="1276" y="0"/>
                    </a:cubicBezTo>
                    <a:cubicBezTo>
                      <a:pt x="1276" y="355"/>
                      <a:pt x="1276" y="355"/>
                      <a:pt x="1276" y="355"/>
                    </a:cubicBezTo>
                    <a:cubicBezTo>
                      <a:pt x="1276" y="355"/>
                      <a:pt x="1210" y="215"/>
                      <a:pt x="1072" y="215"/>
                    </a:cubicBezTo>
                    <a:cubicBezTo>
                      <a:pt x="482" y="215"/>
                      <a:pt x="482" y="215"/>
                      <a:pt x="482" y="215"/>
                    </a:cubicBezTo>
                    <a:cubicBezTo>
                      <a:pt x="482" y="828"/>
                      <a:pt x="482" y="828"/>
                      <a:pt x="482" y="828"/>
                    </a:cubicBezTo>
                    <a:cubicBezTo>
                      <a:pt x="1122" y="828"/>
                      <a:pt x="1122" y="828"/>
                      <a:pt x="1122" y="828"/>
                    </a:cubicBezTo>
                    <a:cubicBezTo>
                      <a:pt x="1122" y="1153"/>
                      <a:pt x="1122" y="1153"/>
                      <a:pt x="1122" y="1153"/>
                    </a:cubicBezTo>
                    <a:cubicBezTo>
                      <a:pt x="1122" y="1153"/>
                      <a:pt x="1101" y="1049"/>
                      <a:pt x="947" y="1049"/>
                    </a:cubicBezTo>
                    <a:cubicBezTo>
                      <a:pt x="482" y="1049"/>
                      <a:pt x="482" y="1049"/>
                      <a:pt x="482" y="1049"/>
                    </a:cubicBezTo>
                    <a:cubicBezTo>
                      <a:pt x="482" y="1886"/>
                      <a:pt x="482" y="1886"/>
                      <a:pt x="482" y="1886"/>
                    </a:cubicBezTo>
                    <a:cubicBezTo>
                      <a:pt x="482" y="2010"/>
                      <a:pt x="616" y="2083"/>
                      <a:pt x="616" y="2083"/>
                    </a:cubicBezTo>
                    <a:cubicBezTo>
                      <a:pt x="9" y="2083"/>
                      <a:pt x="9" y="2083"/>
                      <a:pt x="9" y="2083"/>
                    </a:cubicBezTo>
                    <a:cubicBezTo>
                      <a:pt x="9" y="2083"/>
                      <a:pt x="136" y="2019"/>
                      <a:pt x="136" y="1886"/>
                    </a:cubicBezTo>
                    <a:cubicBezTo>
                      <a:pt x="136" y="219"/>
                      <a:pt x="136" y="219"/>
                      <a:pt x="136" y="219"/>
                    </a:cubicBezTo>
                    <a:cubicBezTo>
                      <a:pt x="136" y="79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FF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 sz="1600"/>
              </a:p>
            </p:txBody>
          </p:sp>
          <p:sp>
            <p:nvSpPr>
              <p:cNvPr id="34" name="Freeform 99"/>
              <p:cNvSpPr>
                <a:spLocks/>
              </p:cNvSpPr>
              <p:nvPr/>
            </p:nvSpPr>
            <p:spPr bwMode="gray">
              <a:xfrm>
                <a:off x="2577" y="1171"/>
                <a:ext cx="169" cy="581"/>
              </a:xfrm>
              <a:custGeom>
                <a:avLst/>
                <a:gdLst>
                  <a:gd name="T0" fmla="*/ 0 w 842"/>
                  <a:gd name="T1" fmla="*/ 0 h 2904"/>
                  <a:gd name="T2" fmla="*/ 0 w 842"/>
                  <a:gd name="T3" fmla="*/ 0 h 2904"/>
                  <a:gd name="T4" fmla="*/ 0 w 842"/>
                  <a:gd name="T5" fmla="*/ 0 h 2904"/>
                  <a:gd name="T6" fmla="*/ 0 w 842"/>
                  <a:gd name="T7" fmla="*/ 1 h 2904"/>
                  <a:gd name="T8" fmla="*/ 0 w 842"/>
                  <a:gd name="T9" fmla="*/ 1 h 2904"/>
                  <a:gd name="T10" fmla="*/ 0 w 842"/>
                  <a:gd name="T11" fmla="*/ 1 h 2904"/>
                  <a:gd name="T12" fmla="*/ 0 w 842"/>
                  <a:gd name="T13" fmla="*/ 0 h 2904"/>
                  <a:gd name="T14" fmla="*/ 0 w 842"/>
                  <a:gd name="T15" fmla="*/ 0 h 290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842" h="2904">
                    <a:moveTo>
                      <a:pt x="193" y="0"/>
                    </a:moveTo>
                    <a:cubicBezTo>
                      <a:pt x="842" y="0"/>
                      <a:pt x="842" y="0"/>
                      <a:pt x="842" y="0"/>
                    </a:cubicBezTo>
                    <a:cubicBezTo>
                      <a:pt x="842" y="0"/>
                      <a:pt x="697" y="69"/>
                      <a:pt x="697" y="181"/>
                    </a:cubicBezTo>
                    <a:cubicBezTo>
                      <a:pt x="697" y="2135"/>
                      <a:pt x="697" y="2135"/>
                      <a:pt x="697" y="2135"/>
                    </a:cubicBezTo>
                    <a:cubicBezTo>
                      <a:pt x="697" y="2796"/>
                      <a:pt x="34" y="2904"/>
                      <a:pt x="0" y="2902"/>
                    </a:cubicBezTo>
                    <a:cubicBezTo>
                      <a:pt x="56" y="2866"/>
                      <a:pt x="331" y="2631"/>
                      <a:pt x="332" y="2135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33" y="76"/>
                      <a:pt x="193" y="0"/>
                      <a:pt x="193" y="0"/>
                    </a:cubicBezTo>
                    <a:close/>
                  </a:path>
                </a:pathLst>
              </a:custGeom>
              <a:solidFill>
                <a:srgbClr val="FF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 sz="1600"/>
              </a:p>
            </p:txBody>
          </p:sp>
          <p:sp>
            <p:nvSpPr>
              <p:cNvPr id="35" name="Freeform 100"/>
              <p:cNvSpPr>
                <a:spLocks/>
              </p:cNvSpPr>
              <p:nvPr/>
            </p:nvSpPr>
            <p:spPr bwMode="gray">
              <a:xfrm>
                <a:off x="2764" y="1171"/>
                <a:ext cx="130" cy="417"/>
              </a:xfrm>
              <a:custGeom>
                <a:avLst/>
                <a:gdLst>
                  <a:gd name="T0" fmla="*/ 0 w 651"/>
                  <a:gd name="T1" fmla="*/ 0 h 2084"/>
                  <a:gd name="T2" fmla="*/ 0 w 651"/>
                  <a:gd name="T3" fmla="*/ 0 h 2084"/>
                  <a:gd name="T4" fmla="*/ 0 w 651"/>
                  <a:gd name="T5" fmla="*/ 0 h 2084"/>
                  <a:gd name="T6" fmla="*/ 0 w 651"/>
                  <a:gd name="T7" fmla="*/ 1 h 2084"/>
                  <a:gd name="T8" fmla="*/ 0 w 651"/>
                  <a:gd name="T9" fmla="*/ 1 h 2084"/>
                  <a:gd name="T10" fmla="*/ 0 w 651"/>
                  <a:gd name="T11" fmla="*/ 1 h 2084"/>
                  <a:gd name="T12" fmla="*/ 0 w 651"/>
                  <a:gd name="T13" fmla="*/ 1 h 2084"/>
                  <a:gd name="T14" fmla="*/ 0 w 651"/>
                  <a:gd name="T15" fmla="*/ 0 h 2084"/>
                  <a:gd name="T16" fmla="*/ 0 w 651"/>
                  <a:gd name="T17" fmla="*/ 0 h 208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651" h="2084">
                    <a:moveTo>
                      <a:pt x="0" y="0"/>
                    </a:moveTo>
                    <a:cubicBezTo>
                      <a:pt x="651" y="0"/>
                      <a:pt x="651" y="0"/>
                      <a:pt x="651" y="0"/>
                    </a:cubicBezTo>
                    <a:cubicBezTo>
                      <a:pt x="651" y="0"/>
                      <a:pt x="507" y="69"/>
                      <a:pt x="507" y="184"/>
                    </a:cubicBezTo>
                    <a:cubicBezTo>
                      <a:pt x="507" y="1886"/>
                      <a:pt x="507" y="1886"/>
                      <a:pt x="507" y="1886"/>
                    </a:cubicBezTo>
                    <a:cubicBezTo>
                      <a:pt x="507" y="2008"/>
                      <a:pt x="651" y="2084"/>
                      <a:pt x="651" y="2084"/>
                    </a:cubicBezTo>
                    <a:cubicBezTo>
                      <a:pt x="0" y="2084"/>
                      <a:pt x="0" y="2084"/>
                      <a:pt x="0" y="2084"/>
                    </a:cubicBezTo>
                    <a:cubicBezTo>
                      <a:pt x="0" y="2084"/>
                      <a:pt x="145" y="2008"/>
                      <a:pt x="145" y="1886"/>
                    </a:cubicBezTo>
                    <a:cubicBezTo>
                      <a:pt x="145" y="184"/>
                      <a:pt x="145" y="184"/>
                      <a:pt x="145" y="184"/>
                    </a:cubicBezTo>
                    <a:cubicBezTo>
                      <a:pt x="145" y="69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FF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 sz="1600"/>
              </a:p>
            </p:txBody>
          </p:sp>
          <p:sp>
            <p:nvSpPr>
              <p:cNvPr id="36" name="Freeform 101"/>
              <p:cNvSpPr>
                <a:spLocks/>
              </p:cNvSpPr>
              <p:nvPr/>
            </p:nvSpPr>
            <p:spPr bwMode="gray">
              <a:xfrm>
                <a:off x="2895" y="1171"/>
                <a:ext cx="312" cy="417"/>
              </a:xfrm>
              <a:custGeom>
                <a:avLst/>
                <a:gdLst>
                  <a:gd name="T0" fmla="*/ 0 w 1559"/>
                  <a:gd name="T1" fmla="*/ 0 h 2083"/>
                  <a:gd name="T2" fmla="*/ 0 w 1559"/>
                  <a:gd name="T3" fmla="*/ 0 h 2083"/>
                  <a:gd name="T4" fmla="*/ 0 w 1559"/>
                  <a:gd name="T5" fmla="*/ 0 h 2083"/>
                  <a:gd name="T6" fmla="*/ 0 w 1559"/>
                  <a:gd name="T7" fmla="*/ 0 h 2083"/>
                  <a:gd name="T8" fmla="*/ 0 w 1559"/>
                  <a:gd name="T9" fmla="*/ 0 h 2083"/>
                  <a:gd name="T10" fmla="*/ 0 w 1559"/>
                  <a:gd name="T11" fmla="*/ 1 h 2083"/>
                  <a:gd name="T12" fmla="*/ 0 w 1559"/>
                  <a:gd name="T13" fmla="*/ 1 h 2083"/>
                  <a:gd name="T14" fmla="*/ 0 w 1559"/>
                  <a:gd name="T15" fmla="*/ 1 h 2083"/>
                  <a:gd name="T16" fmla="*/ 0 w 1559"/>
                  <a:gd name="T17" fmla="*/ 1 h 2083"/>
                  <a:gd name="T18" fmla="*/ 0 w 1559"/>
                  <a:gd name="T19" fmla="*/ 0 h 2083"/>
                  <a:gd name="T20" fmla="*/ 0 w 1559"/>
                  <a:gd name="T21" fmla="*/ 0 h 2083"/>
                  <a:gd name="T22" fmla="*/ 0 w 1559"/>
                  <a:gd name="T23" fmla="*/ 0 h 2083"/>
                  <a:gd name="T24" fmla="*/ 0 w 1559"/>
                  <a:gd name="T25" fmla="*/ 0 h 208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559" h="2083">
                    <a:moveTo>
                      <a:pt x="127" y="0"/>
                    </a:moveTo>
                    <a:cubicBezTo>
                      <a:pt x="1559" y="0"/>
                      <a:pt x="1559" y="0"/>
                      <a:pt x="1559" y="0"/>
                    </a:cubicBezTo>
                    <a:cubicBezTo>
                      <a:pt x="1438" y="378"/>
                      <a:pt x="1438" y="378"/>
                      <a:pt x="1438" y="378"/>
                    </a:cubicBezTo>
                    <a:cubicBezTo>
                      <a:pt x="1438" y="378"/>
                      <a:pt x="1401" y="219"/>
                      <a:pt x="1263" y="219"/>
                    </a:cubicBezTo>
                    <a:cubicBezTo>
                      <a:pt x="966" y="219"/>
                      <a:pt x="966" y="219"/>
                      <a:pt x="966" y="219"/>
                    </a:cubicBezTo>
                    <a:cubicBezTo>
                      <a:pt x="966" y="1886"/>
                      <a:pt x="966" y="1886"/>
                      <a:pt x="966" y="1886"/>
                    </a:cubicBezTo>
                    <a:cubicBezTo>
                      <a:pt x="966" y="1991"/>
                      <a:pt x="1106" y="2083"/>
                      <a:pt x="1106" y="2083"/>
                    </a:cubicBezTo>
                    <a:cubicBezTo>
                      <a:pt x="468" y="2083"/>
                      <a:pt x="468" y="2083"/>
                      <a:pt x="468" y="2083"/>
                    </a:cubicBezTo>
                    <a:cubicBezTo>
                      <a:pt x="468" y="2083"/>
                      <a:pt x="606" y="2000"/>
                      <a:pt x="606" y="1886"/>
                    </a:cubicBezTo>
                    <a:cubicBezTo>
                      <a:pt x="606" y="219"/>
                      <a:pt x="606" y="219"/>
                      <a:pt x="606" y="219"/>
                    </a:cubicBezTo>
                    <a:cubicBezTo>
                      <a:pt x="248" y="219"/>
                      <a:pt x="248" y="219"/>
                      <a:pt x="248" y="219"/>
                    </a:cubicBezTo>
                    <a:cubicBezTo>
                      <a:pt x="146" y="219"/>
                      <a:pt x="0" y="410"/>
                      <a:pt x="0" y="410"/>
                    </a:cubicBezTo>
                    <a:lnTo>
                      <a:pt x="127" y="0"/>
                    </a:lnTo>
                    <a:close/>
                  </a:path>
                </a:pathLst>
              </a:custGeom>
              <a:solidFill>
                <a:srgbClr val="FF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 sz="1600"/>
              </a:p>
            </p:txBody>
          </p:sp>
          <p:sp>
            <p:nvSpPr>
              <p:cNvPr id="37" name="Freeform 102"/>
              <p:cNvSpPr>
                <a:spLocks/>
              </p:cNvSpPr>
              <p:nvPr/>
            </p:nvSpPr>
            <p:spPr bwMode="gray">
              <a:xfrm>
                <a:off x="3462" y="1171"/>
                <a:ext cx="349" cy="423"/>
              </a:xfrm>
              <a:custGeom>
                <a:avLst/>
                <a:gdLst>
                  <a:gd name="T0" fmla="*/ 0 w 1743"/>
                  <a:gd name="T1" fmla="*/ 0 h 2115"/>
                  <a:gd name="T2" fmla="*/ 1 w 1743"/>
                  <a:gd name="T3" fmla="*/ 0 h 2115"/>
                  <a:gd name="T4" fmla="*/ 1 w 1743"/>
                  <a:gd name="T5" fmla="*/ 0 h 2115"/>
                  <a:gd name="T6" fmla="*/ 1 w 1743"/>
                  <a:gd name="T7" fmla="*/ 0 h 2115"/>
                  <a:gd name="T8" fmla="*/ 0 w 1743"/>
                  <a:gd name="T9" fmla="*/ 1 h 2115"/>
                  <a:gd name="T10" fmla="*/ 0 w 1743"/>
                  <a:gd name="T11" fmla="*/ 0 h 2115"/>
                  <a:gd name="T12" fmla="*/ 0 w 1743"/>
                  <a:gd name="T13" fmla="*/ 0 h 2115"/>
                  <a:gd name="T14" fmla="*/ 0 w 1743"/>
                  <a:gd name="T15" fmla="*/ 0 h 2115"/>
                  <a:gd name="T16" fmla="*/ 0 w 1743"/>
                  <a:gd name="T17" fmla="*/ 0 h 2115"/>
                  <a:gd name="T18" fmla="*/ 0 w 1743"/>
                  <a:gd name="T19" fmla="*/ 0 h 2115"/>
                  <a:gd name="T20" fmla="*/ 0 w 1743"/>
                  <a:gd name="T21" fmla="*/ 0 h 2115"/>
                  <a:gd name="T22" fmla="*/ 0 w 1743"/>
                  <a:gd name="T23" fmla="*/ 1 h 2115"/>
                  <a:gd name="T24" fmla="*/ 0 w 1743"/>
                  <a:gd name="T25" fmla="*/ 0 h 2115"/>
                  <a:gd name="T26" fmla="*/ 0 w 1743"/>
                  <a:gd name="T27" fmla="*/ 0 h 2115"/>
                  <a:gd name="T28" fmla="*/ 0 w 1743"/>
                  <a:gd name="T29" fmla="*/ 0 h 211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1743" h="2115">
                    <a:moveTo>
                      <a:pt x="1116" y="0"/>
                    </a:moveTo>
                    <a:cubicBezTo>
                      <a:pt x="1743" y="0"/>
                      <a:pt x="1743" y="0"/>
                      <a:pt x="1743" y="0"/>
                    </a:cubicBezTo>
                    <a:cubicBezTo>
                      <a:pt x="1743" y="0"/>
                      <a:pt x="1609" y="71"/>
                      <a:pt x="1609" y="184"/>
                    </a:cubicBezTo>
                    <a:cubicBezTo>
                      <a:pt x="1609" y="1445"/>
                      <a:pt x="1609" y="1445"/>
                      <a:pt x="1609" y="1445"/>
                    </a:cubicBezTo>
                    <a:cubicBezTo>
                      <a:pt x="1608" y="1957"/>
                      <a:pt x="1183" y="2115"/>
                      <a:pt x="889" y="2115"/>
                    </a:cubicBezTo>
                    <a:cubicBezTo>
                      <a:pt x="596" y="2115"/>
                      <a:pt x="138" y="1955"/>
                      <a:pt x="138" y="1445"/>
                    </a:cubicBezTo>
                    <a:cubicBezTo>
                      <a:pt x="138" y="184"/>
                      <a:pt x="138" y="184"/>
                      <a:pt x="138" y="184"/>
                    </a:cubicBezTo>
                    <a:cubicBezTo>
                      <a:pt x="139" y="71"/>
                      <a:pt x="0" y="0"/>
                      <a:pt x="0" y="0"/>
                    </a:cubicBezTo>
                    <a:cubicBezTo>
                      <a:pt x="645" y="0"/>
                      <a:pt x="645" y="0"/>
                      <a:pt x="645" y="0"/>
                    </a:cubicBezTo>
                    <a:cubicBezTo>
                      <a:pt x="645" y="0"/>
                      <a:pt x="502" y="69"/>
                      <a:pt x="502" y="184"/>
                    </a:cubicBezTo>
                    <a:cubicBezTo>
                      <a:pt x="502" y="1445"/>
                      <a:pt x="502" y="1445"/>
                      <a:pt x="502" y="1445"/>
                    </a:cubicBezTo>
                    <a:cubicBezTo>
                      <a:pt x="502" y="1714"/>
                      <a:pt x="680" y="1890"/>
                      <a:pt x="889" y="1890"/>
                    </a:cubicBezTo>
                    <a:cubicBezTo>
                      <a:pt x="1098" y="1890"/>
                      <a:pt x="1257" y="1707"/>
                      <a:pt x="1258" y="1445"/>
                    </a:cubicBezTo>
                    <a:cubicBezTo>
                      <a:pt x="1258" y="184"/>
                      <a:pt x="1258" y="184"/>
                      <a:pt x="1258" y="184"/>
                    </a:cubicBezTo>
                    <a:cubicBezTo>
                      <a:pt x="1258" y="71"/>
                      <a:pt x="1116" y="0"/>
                      <a:pt x="1116" y="0"/>
                    </a:cubicBezTo>
                    <a:close/>
                  </a:path>
                </a:pathLst>
              </a:custGeom>
              <a:solidFill>
                <a:srgbClr val="FF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 sz="1600"/>
              </a:p>
            </p:txBody>
          </p:sp>
          <p:sp>
            <p:nvSpPr>
              <p:cNvPr id="38" name="Freeform 103"/>
              <p:cNvSpPr>
                <a:spLocks/>
              </p:cNvSpPr>
              <p:nvPr/>
            </p:nvSpPr>
            <p:spPr bwMode="gray">
              <a:xfrm>
                <a:off x="2241" y="1171"/>
                <a:ext cx="352" cy="424"/>
              </a:xfrm>
              <a:custGeom>
                <a:avLst/>
                <a:gdLst>
                  <a:gd name="T0" fmla="*/ 0 w 1760"/>
                  <a:gd name="T1" fmla="*/ 0 h 2120"/>
                  <a:gd name="T2" fmla="*/ 1 w 1760"/>
                  <a:gd name="T3" fmla="*/ 0 h 2120"/>
                  <a:gd name="T4" fmla="*/ 1 w 1760"/>
                  <a:gd name="T5" fmla="*/ 0 h 2120"/>
                  <a:gd name="T6" fmla="*/ 1 w 1760"/>
                  <a:gd name="T7" fmla="*/ 0 h 2120"/>
                  <a:gd name="T8" fmla="*/ 0 w 1760"/>
                  <a:gd name="T9" fmla="*/ 1 h 2120"/>
                  <a:gd name="T10" fmla="*/ 0 w 1760"/>
                  <a:gd name="T11" fmla="*/ 0 h 2120"/>
                  <a:gd name="T12" fmla="*/ 0 w 1760"/>
                  <a:gd name="T13" fmla="*/ 0 h 2120"/>
                  <a:gd name="T14" fmla="*/ 0 w 1760"/>
                  <a:gd name="T15" fmla="*/ 0 h 2120"/>
                  <a:gd name="T16" fmla="*/ 0 w 1760"/>
                  <a:gd name="T17" fmla="*/ 0 h 2120"/>
                  <a:gd name="T18" fmla="*/ 0 w 1760"/>
                  <a:gd name="T19" fmla="*/ 0 h 2120"/>
                  <a:gd name="T20" fmla="*/ 0 w 1760"/>
                  <a:gd name="T21" fmla="*/ 0 h 2120"/>
                  <a:gd name="T22" fmla="*/ 0 w 1760"/>
                  <a:gd name="T23" fmla="*/ 1 h 2120"/>
                  <a:gd name="T24" fmla="*/ 0 w 1760"/>
                  <a:gd name="T25" fmla="*/ 0 h 2120"/>
                  <a:gd name="T26" fmla="*/ 0 w 1760"/>
                  <a:gd name="T27" fmla="*/ 0 h 2120"/>
                  <a:gd name="T28" fmla="*/ 0 w 1760"/>
                  <a:gd name="T29" fmla="*/ 0 h 2120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1760" h="2120">
                    <a:moveTo>
                      <a:pt x="1122" y="0"/>
                    </a:moveTo>
                    <a:cubicBezTo>
                      <a:pt x="1760" y="0"/>
                      <a:pt x="1760" y="0"/>
                      <a:pt x="1760" y="0"/>
                    </a:cubicBezTo>
                    <a:cubicBezTo>
                      <a:pt x="1760" y="0"/>
                      <a:pt x="1625" y="74"/>
                      <a:pt x="1625" y="186"/>
                    </a:cubicBezTo>
                    <a:cubicBezTo>
                      <a:pt x="1625" y="186"/>
                      <a:pt x="1624" y="1444"/>
                      <a:pt x="1624" y="1444"/>
                    </a:cubicBezTo>
                    <a:cubicBezTo>
                      <a:pt x="1624" y="1959"/>
                      <a:pt x="1179" y="2120"/>
                      <a:pt x="882" y="2120"/>
                    </a:cubicBezTo>
                    <a:cubicBezTo>
                      <a:pt x="589" y="2120"/>
                      <a:pt x="131" y="1956"/>
                      <a:pt x="131" y="1444"/>
                    </a:cubicBezTo>
                    <a:cubicBezTo>
                      <a:pt x="130" y="186"/>
                      <a:pt x="130" y="186"/>
                      <a:pt x="130" y="186"/>
                    </a:cubicBezTo>
                    <a:cubicBezTo>
                      <a:pt x="130" y="73"/>
                      <a:pt x="0" y="0"/>
                      <a:pt x="0" y="0"/>
                    </a:cubicBezTo>
                    <a:cubicBezTo>
                      <a:pt x="645" y="0"/>
                      <a:pt x="645" y="0"/>
                      <a:pt x="645" y="0"/>
                    </a:cubicBezTo>
                    <a:cubicBezTo>
                      <a:pt x="645" y="0"/>
                      <a:pt x="496" y="73"/>
                      <a:pt x="496" y="186"/>
                    </a:cubicBezTo>
                    <a:cubicBezTo>
                      <a:pt x="495" y="1444"/>
                      <a:pt x="495" y="1444"/>
                      <a:pt x="495" y="1444"/>
                    </a:cubicBezTo>
                    <a:cubicBezTo>
                      <a:pt x="495" y="1710"/>
                      <a:pt x="673" y="1894"/>
                      <a:pt x="882" y="1895"/>
                    </a:cubicBezTo>
                    <a:cubicBezTo>
                      <a:pt x="1091" y="1896"/>
                      <a:pt x="1258" y="1708"/>
                      <a:pt x="1258" y="1444"/>
                    </a:cubicBezTo>
                    <a:cubicBezTo>
                      <a:pt x="1259" y="186"/>
                      <a:pt x="1259" y="186"/>
                      <a:pt x="1259" y="186"/>
                    </a:cubicBezTo>
                    <a:cubicBezTo>
                      <a:pt x="1259" y="73"/>
                      <a:pt x="1122" y="0"/>
                      <a:pt x="1122" y="0"/>
                    </a:cubicBezTo>
                    <a:close/>
                  </a:path>
                </a:pathLst>
              </a:custGeom>
              <a:solidFill>
                <a:srgbClr val="FF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 sz="1600"/>
              </a:p>
            </p:txBody>
          </p:sp>
          <p:sp>
            <p:nvSpPr>
              <p:cNvPr id="39" name="Freeform 104"/>
              <p:cNvSpPr>
                <a:spLocks/>
              </p:cNvSpPr>
              <p:nvPr/>
            </p:nvSpPr>
            <p:spPr bwMode="gray">
              <a:xfrm>
                <a:off x="3193" y="1162"/>
                <a:ext cx="268" cy="433"/>
              </a:xfrm>
              <a:custGeom>
                <a:avLst/>
                <a:gdLst>
                  <a:gd name="T0" fmla="*/ 0 w 1341"/>
                  <a:gd name="T1" fmla="*/ 0 h 2163"/>
                  <a:gd name="T2" fmla="*/ 0 w 1341"/>
                  <a:gd name="T3" fmla="*/ 0 h 2163"/>
                  <a:gd name="T4" fmla="*/ 0 w 1341"/>
                  <a:gd name="T5" fmla="*/ 0 h 2163"/>
                  <a:gd name="T6" fmla="*/ 0 w 1341"/>
                  <a:gd name="T7" fmla="*/ 0 h 2163"/>
                  <a:gd name="T8" fmla="*/ 0 w 1341"/>
                  <a:gd name="T9" fmla="*/ 0 h 2163"/>
                  <a:gd name="T10" fmla="*/ 0 w 1341"/>
                  <a:gd name="T11" fmla="*/ 1 h 2163"/>
                  <a:gd name="T12" fmla="*/ 0 w 1341"/>
                  <a:gd name="T13" fmla="*/ 1 h 2163"/>
                  <a:gd name="T14" fmla="*/ 0 w 1341"/>
                  <a:gd name="T15" fmla="*/ 1 h 2163"/>
                  <a:gd name="T16" fmla="*/ 0 w 1341"/>
                  <a:gd name="T17" fmla="*/ 1 h 2163"/>
                  <a:gd name="T18" fmla="*/ 0 w 1341"/>
                  <a:gd name="T19" fmla="*/ 1 h 2163"/>
                  <a:gd name="T20" fmla="*/ 0 w 1341"/>
                  <a:gd name="T21" fmla="*/ 0 h 2163"/>
                  <a:gd name="T22" fmla="*/ 0 w 1341"/>
                  <a:gd name="T23" fmla="*/ 0 h 2163"/>
                  <a:gd name="T24" fmla="*/ 0 w 1341"/>
                  <a:gd name="T25" fmla="*/ 0 h 2163"/>
                  <a:gd name="T26" fmla="*/ 0 w 1341"/>
                  <a:gd name="T27" fmla="*/ 0 h 2163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1341" h="2163">
                    <a:moveTo>
                      <a:pt x="1152" y="375"/>
                    </a:moveTo>
                    <a:cubicBezTo>
                      <a:pt x="1152" y="375"/>
                      <a:pt x="1062" y="217"/>
                      <a:pt x="800" y="216"/>
                    </a:cubicBezTo>
                    <a:cubicBezTo>
                      <a:pt x="539" y="215"/>
                      <a:pt x="396" y="353"/>
                      <a:pt x="396" y="531"/>
                    </a:cubicBezTo>
                    <a:cubicBezTo>
                      <a:pt x="395" y="733"/>
                      <a:pt x="547" y="809"/>
                      <a:pt x="782" y="922"/>
                    </a:cubicBezTo>
                    <a:cubicBezTo>
                      <a:pt x="1005" y="1029"/>
                      <a:pt x="1341" y="1177"/>
                      <a:pt x="1340" y="1550"/>
                    </a:cubicBezTo>
                    <a:cubicBezTo>
                      <a:pt x="1339" y="1884"/>
                      <a:pt x="1042" y="2163"/>
                      <a:pt x="511" y="2163"/>
                    </a:cubicBezTo>
                    <a:cubicBezTo>
                      <a:pt x="347" y="2163"/>
                      <a:pt x="121" y="2109"/>
                      <a:pt x="121" y="2109"/>
                    </a:cubicBezTo>
                    <a:cubicBezTo>
                      <a:pt x="0" y="1709"/>
                      <a:pt x="0" y="1709"/>
                      <a:pt x="0" y="1709"/>
                    </a:cubicBezTo>
                    <a:cubicBezTo>
                      <a:pt x="112" y="1819"/>
                      <a:pt x="312" y="1936"/>
                      <a:pt x="517" y="1936"/>
                    </a:cubicBezTo>
                    <a:cubicBezTo>
                      <a:pt x="729" y="1936"/>
                      <a:pt x="983" y="1805"/>
                      <a:pt x="983" y="1594"/>
                    </a:cubicBezTo>
                    <a:cubicBezTo>
                      <a:pt x="983" y="1187"/>
                      <a:pt x="36" y="1255"/>
                      <a:pt x="36" y="573"/>
                    </a:cubicBezTo>
                    <a:cubicBezTo>
                      <a:pt x="36" y="339"/>
                      <a:pt x="199" y="0"/>
                      <a:pt x="765" y="0"/>
                    </a:cubicBezTo>
                    <a:cubicBezTo>
                      <a:pt x="948" y="0"/>
                      <a:pt x="1153" y="53"/>
                      <a:pt x="1153" y="53"/>
                    </a:cubicBezTo>
                    <a:lnTo>
                      <a:pt x="1152" y="375"/>
                    </a:lnTo>
                    <a:close/>
                  </a:path>
                </a:pathLst>
              </a:custGeom>
              <a:solidFill>
                <a:srgbClr val="FF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 sz="16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6830202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143000" y="841115"/>
            <a:ext cx="6858000" cy="1791735"/>
          </a:xfrm>
        </p:spPr>
        <p:txBody>
          <a:bodyPr anchor="b"/>
          <a:lstStyle>
            <a:lvl1pPr algn="ctr">
              <a:defRPr sz="48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1143000" y="2701094"/>
            <a:ext cx="6858000" cy="1242629"/>
          </a:xfrm>
        </p:spPr>
        <p:txBody>
          <a:bodyPr/>
          <a:lstStyle>
            <a:lvl1pPr marL="0" indent="0" algn="ctr">
              <a:buNone/>
              <a:defRPr sz="1920"/>
            </a:lvl1pPr>
            <a:lvl2pPr marL="456914" indent="0" algn="ctr">
              <a:buNone/>
              <a:defRPr sz="1600"/>
            </a:lvl2pPr>
            <a:lvl3pPr marL="913829" indent="0" algn="ctr">
              <a:buNone/>
              <a:defRPr sz="1440"/>
            </a:lvl3pPr>
            <a:lvl4pPr marL="1370744" indent="0" algn="ctr">
              <a:buNone/>
              <a:defRPr sz="1280"/>
            </a:lvl4pPr>
            <a:lvl5pPr marL="1827657" indent="0" algn="ctr">
              <a:buNone/>
              <a:defRPr sz="1280"/>
            </a:lvl5pPr>
            <a:lvl6pPr marL="2284571" indent="0" algn="ctr">
              <a:buNone/>
              <a:defRPr sz="1280"/>
            </a:lvl6pPr>
            <a:lvl7pPr marL="2741486" indent="0" algn="ctr">
              <a:buNone/>
              <a:defRPr sz="1280"/>
            </a:lvl7pPr>
            <a:lvl8pPr marL="3198400" indent="0" algn="ctr">
              <a:buNone/>
              <a:defRPr sz="1280"/>
            </a:lvl8pPr>
            <a:lvl9pPr marL="3655315" indent="0" algn="ctr">
              <a:buNone/>
              <a:defRPr sz="1280"/>
            </a:lvl9pPr>
          </a:lstStyle>
          <a:p>
            <a:r>
              <a:rPr kumimoji="1" lang="ja-JP" altLang="en-US"/>
              <a:t>マスター サブタイトルの書式設定</a:t>
            </a:r>
          </a:p>
        </p:txBody>
      </p:sp>
      <p:grpSp>
        <p:nvGrpSpPr>
          <p:cNvPr id="6" name="Group 106" descr="Message Lockup"/>
          <p:cNvGrpSpPr>
            <a:grpSpLocks/>
          </p:cNvGrpSpPr>
          <p:nvPr userDrawn="1"/>
        </p:nvGrpSpPr>
        <p:grpSpPr bwMode="auto">
          <a:xfrm>
            <a:off x="4" y="2"/>
            <a:ext cx="9148763" cy="5145087"/>
            <a:chOff x="0" y="0"/>
            <a:chExt cx="5763" cy="3242"/>
          </a:xfrm>
        </p:grpSpPr>
        <p:sp>
          <p:nvSpPr>
            <p:cNvPr id="7" name="Rectangle 3"/>
            <p:cNvSpPr>
              <a:spLocks noChangeArrowheads="1"/>
            </p:cNvSpPr>
            <p:nvPr/>
          </p:nvSpPr>
          <p:spPr bwMode="gray">
            <a:xfrm>
              <a:off x="0" y="0"/>
              <a:ext cx="5760" cy="324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rgbClr val="50505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53882" dir="2700000" algn="ctr" rotWithShape="0">
                      <a:schemeClr val="bg2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ja-JP" altLang="en-US" sz="1600">
                <a:cs typeface="Meiryo UI" pitchFamily="50" charset="-128"/>
              </a:endParaRPr>
            </a:p>
          </p:txBody>
        </p:sp>
        <p:grpSp>
          <p:nvGrpSpPr>
            <p:cNvPr id="8" name="Group 74"/>
            <p:cNvGrpSpPr>
              <a:grpSpLocks noChangeAspect="1"/>
            </p:cNvGrpSpPr>
            <p:nvPr/>
          </p:nvGrpSpPr>
          <p:grpSpPr bwMode="auto">
            <a:xfrm>
              <a:off x="0" y="0"/>
              <a:ext cx="5763" cy="3242"/>
              <a:chOff x="0" y="0"/>
              <a:chExt cx="5763" cy="3242"/>
            </a:xfrm>
          </p:grpSpPr>
          <p:sp>
            <p:nvSpPr>
              <p:cNvPr id="9" name="AutoShape 73"/>
              <p:cNvSpPr>
                <a:spLocks noChangeAspect="1" noChangeArrowheads="1" noTextEdit="1"/>
              </p:cNvSpPr>
              <p:nvPr/>
            </p:nvSpPr>
            <p:spPr bwMode="gray">
              <a:xfrm>
                <a:off x="0" y="0"/>
                <a:ext cx="5763" cy="32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 sz="1600"/>
              </a:p>
            </p:txBody>
          </p:sp>
          <p:sp>
            <p:nvSpPr>
              <p:cNvPr id="10" name="Freeform 75"/>
              <p:cNvSpPr>
                <a:spLocks/>
              </p:cNvSpPr>
              <p:nvPr/>
            </p:nvSpPr>
            <p:spPr bwMode="gray">
              <a:xfrm>
                <a:off x="1633" y="1949"/>
                <a:ext cx="73" cy="120"/>
              </a:xfrm>
              <a:custGeom>
                <a:avLst/>
                <a:gdLst>
                  <a:gd name="T0" fmla="*/ 0 w 363"/>
                  <a:gd name="T1" fmla="*/ 0 h 597"/>
                  <a:gd name="T2" fmla="*/ 0 w 363"/>
                  <a:gd name="T3" fmla="*/ 0 h 597"/>
                  <a:gd name="T4" fmla="*/ 0 w 363"/>
                  <a:gd name="T5" fmla="*/ 0 h 597"/>
                  <a:gd name="T6" fmla="*/ 0 w 363"/>
                  <a:gd name="T7" fmla="*/ 0 h 597"/>
                  <a:gd name="T8" fmla="*/ 0 w 363"/>
                  <a:gd name="T9" fmla="*/ 0 h 597"/>
                  <a:gd name="T10" fmla="*/ 0 w 363"/>
                  <a:gd name="T11" fmla="*/ 0 h 597"/>
                  <a:gd name="T12" fmla="*/ 0 w 363"/>
                  <a:gd name="T13" fmla="*/ 0 h 597"/>
                  <a:gd name="T14" fmla="*/ 0 w 363"/>
                  <a:gd name="T15" fmla="*/ 0 h 597"/>
                  <a:gd name="T16" fmla="*/ 0 w 363"/>
                  <a:gd name="T17" fmla="*/ 0 h 597"/>
                  <a:gd name="T18" fmla="*/ 0 w 363"/>
                  <a:gd name="T19" fmla="*/ 0 h 597"/>
                  <a:gd name="T20" fmla="*/ 0 w 363"/>
                  <a:gd name="T21" fmla="*/ 0 h 597"/>
                  <a:gd name="T22" fmla="*/ 0 w 363"/>
                  <a:gd name="T23" fmla="*/ 0 h 597"/>
                  <a:gd name="T24" fmla="*/ 0 w 363"/>
                  <a:gd name="T25" fmla="*/ 0 h 597"/>
                  <a:gd name="T26" fmla="*/ 0 w 363"/>
                  <a:gd name="T27" fmla="*/ 0 h 597"/>
                  <a:gd name="T28" fmla="*/ 0 w 363"/>
                  <a:gd name="T29" fmla="*/ 0 h 597"/>
                  <a:gd name="T30" fmla="*/ 0 w 363"/>
                  <a:gd name="T31" fmla="*/ 0 h 597"/>
                  <a:gd name="T32" fmla="*/ 0 w 363"/>
                  <a:gd name="T33" fmla="*/ 0 h 597"/>
                  <a:gd name="T34" fmla="*/ 0 w 363"/>
                  <a:gd name="T35" fmla="*/ 0 h 597"/>
                  <a:gd name="T36" fmla="*/ 0 w 363"/>
                  <a:gd name="T37" fmla="*/ 0 h 597"/>
                  <a:gd name="T38" fmla="*/ 0 w 363"/>
                  <a:gd name="T39" fmla="*/ 0 h 597"/>
                  <a:gd name="T40" fmla="*/ 0 w 363"/>
                  <a:gd name="T41" fmla="*/ 0 h 597"/>
                  <a:gd name="T42" fmla="*/ 0 w 363"/>
                  <a:gd name="T43" fmla="*/ 0 h 597"/>
                  <a:gd name="T44" fmla="*/ 0 w 363"/>
                  <a:gd name="T45" fmla="*/ 0 h 597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363" h="597">
                    <a:moveTo>
                      <a:pt x="0" y="573"/>
                    </a:moveTo>
                    <a:cubicBezTo>
                      <a:pt x="0" y="504"/>
                      <a:pt x="0" y="504"/>
                      <a:pt x="0" y="504"/>
                    </a:cubicBezTo>
                    <a:cubicBezTo>
                      <a:pt x="38" y="526"/>
                      <a:pt x="84" y="536"/>
                      <a:pt x="139" y="536"/>
                    </a:cubicBezTo>
                    <a:cubicBezTo>
                      <a:pt x="232" y="536"/>
                      <a:pt x="278" y="506"/>
                      <a:pt x="278" y="445"/>
                    </a:cubicBezTo>
                    <a:cubicBezTo>
                      <a:pt x="278" y="422"/>
                      <a:pt x="270" y="402"/>
                      <a:pt x="255" y="387"/>
                    </a:cubicBezTo>
                    <a:cubicBezTo>
                      <a:pt x="242" y="374"/>
                      <a:pt x="228" y="363"/>
                      <a:pt x="213" y="354"/>
                    </a:cubicBezTo>
                    <a:cubicBezTo>
                      <a:pt x="199" y="347"/>
                      <a:pt x="181" y="338"/>
                      <a:pt x="159" y="328"/>
                    </a:cubicBezTo>
                    <a:cubicBezTo>
                      <a:pt x="107" y="302"/>
                      <a:pt x="70" y="277"/>
                      <a:pt x="49" y="253"/>
                    </a:cubicBezTo>
                    <a:cubicBezTo>
                      <a:pt x="23" y="224"/>
                      <a:pt x="10" y="190"/>
                      <a:pt x="10" y="150"/>
                    </a:cubicBezTo>
                    <a:cubicBezTo>
                      <a:pt x="10" y="97"/>
                      <a:pt x="30" y="58"/>
                      <a:pt x="71" y="33"/>
                    </a:cubicBezTo>
                    <a:cubicBezTo>
                      <a:pt x="105" y="11"/>
                      <a:pt x="148" y="0"/>
                      <a:pt x="201" y="0"/>
                    </a:cubicBezTo>
                    <a:cubicBezTo>
                      <a:pt x="238" y="0"/>
                      <a:pt x="279" y="7"/>
                      <a:pt x="322" y="20"/>
                    </a:cubicBezTo>
                    <a:cubicBezTo>
                      <a:pt x="322" y="83"/>
                      <a:pt x="322" y="83"/>
                      <a:pt x="322" y="83"/>
                    </a:cubicBezTo>
                    <a:cubicBezTo>
                      <a:pt x="286" y="67"/>
                      <a:pt x="247" y="59"/>
                      <a:pt x="206" y="59"/>
                    </a:cubicBezTo>
                    <a:cubicBezTo>
                      <a:pt x="174" y="59"/>
                      <a:pt x="148" y="65"/>
                      <a:pt x="127" y="78"/>
                    </a:cubicBezTo>
                    <a:cubicBezTo>
                      <a:pt x="105" y="90"/>
                      <a:pt x="95" y="111"/>
                      <a:pt x="95" y="140"/>
                    </a:cubicBezTo>
                    <a:cubicBezTo>
                      <a:pt x="95" y="164"/>
                      <a:pt x="102" y="184"/>
                      <a:pt x="117" y="199"/>
                    </a:cubicBezTo>
                    <a:cubicBezTo>
                      <a:pt x="132" y="214"/>
                      <a:pt x="164" y="234"/>
                      <a:pt x="214" y="260"/>
                    </a:cubicBezTo>
                    <a:cubicBezTo>
                      <a:pt x="254" y="280"/>
                      <a:pt x="280" y="294"/>
                      <a:pt x="293" y="305"/>
                    </a:cubicBezTo>
                    <a:cubicBezTo>
                      <a:pt x="319" y="323"/>
                      <a:pt x="337" y="343"/>
                      <a:pt x="348" y="365"/>
                    </a:cubicBezTo>
                    <a:cubicBezTo>
                      <a:pt x="358" y="384"/>
                      <a:pt x="363" y="408"/>
                      <a:pt x="363" y="436"/>
                    </a:cubicBezTo>
                    <a:cubicBezTo>
                      <a:pt x="363" y="543"/>
                      <a:pt x="290" y="597"/>
                      <a:pt x="145" y="597"/>
                    </a:cubicBezTo>
                    <a:cubicBezTo>
                      <a:pt x="86" y="597"/>
                      <a:pt x="38" y="589"/>
                      <a:pt x="0" y="573"/>
                    </a:cubicBezTo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 sz="1600"/>
              </a:p>
            </p:txBody>
          </p:sp>
          <p:sp>
            <p:nvSpPr>
              <p:cNvPr id="11" name="Freeform 76"/>
              <p:cNvSpPr>
                <a:spLocks/>
              </p:cNvSpPr>
              <p:nvPr/>
            </p:nvSpPr>
            <p:spPr bwMode="gray">
              <a:xfrm>
                <a:off x="1733" y="1895"/>
                <a:ext cx="86" cy="170"/>
              </a:xfrm>
              <a:custGeom>
                <a:avLst/>
                <a:gdLst>
                  <a:gd name="T0" fmla="*/ 0 w 429"/>
                  <a:gd name="T1" fmla="*/ 0 h 851"/>
                  <a:gd name="T2" fmla="*/ 0 w 429"/>
                  <a:gd name="T3" fmla="*/ 0 h 851"/>
                  <a:gd name="T4" fmla="*/ 0 w 429"/>
                  <a:gd name="T5" fmla="*/ 0 h 851"/>
                  <a:gd name="T6" fmla="*/ 0 w 429"/>
                  <a:gd name="T7" fmla="*/ 0 h 851"/>
                  <a:gd name="T8" fmla="*/ 0 w 429"/>
                  <a:gd name="T9" fmla="*/ 0 h 851"/>
                  <a:gd name="T10" fmla="*/ 0 w 429"/>
                  <a:gd name="T11" fmla="*/ 0 h 851"/>
                  <a:gd name="T12" fmla="*/ 0 w 429"/>
                  <a:gd name="T13" fmla="*/ 0 h 851"/>
                  <a:gd name="T14" fmla="*/ 0 w 429"/>
                  <a:gd name="T15" fmla="*/ 0 h 851"/>
                  <a:gd name="T16" fmla="*/ 0 w 429"/>
                  <a:gd name="T17" fmla="*/ 0 h 851"/>
                  <a:gd name="T18" fmla="*/ 0 w 429"/>
                  <a:gd name="T19" fmla="*/ 0 h 851"/>
                  <a:gd name="T20" fmla="*/ 0 w 429"/>
                  <a:gd name="T21" fmla="*/ 0 h 851"/>
                  <a:gd name="T22" fmla="*/ 0 w 429"/>
                  <a:gd name="T23" fmla="*/ 0 h 851"/>
                  <a:gd name="T24" fmla="*/ 0 w 429"/>
                  <a:gd name="T25" fmla="*/ 0 h 851"/>
                  <a:gd name="T26" fmla="*/ 0 w 429"/>
                  <a:gd name="T27" fmla="*/ 0 h 851"/>
                  <a:gd name="T28" fmla="*/ 0 w 429"/>
                  <a:gd name="T29" fmla="*/ 0 h 851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429" h="851">
                    <a:moveTo>
                      <a:pt x="0" y="851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96" y="0"/>
                      <a:pt x="96" y="0"/>
                      <a:pt x="96" y="0"/>
                    </a:cubicBezTo>
                    <a:cubicBezTo>
                      <a:pt x="96" y="300"/>
                      <a:pt x="96" y="300"/>
                      <a:pt x="96" y="300"/>
                    </a:cubicBezTo>
                    <a:cubicBezTo>
                      <a:pt x="147" y="280"/>
                      <a:pt x="194" y="270"/>
                      <a:pt x="239" y="270"/>
                    </a:cubicBezTo>
                    <a:cubicBezTo>
                      <a:pt x="328" y="270"/>
                      <a:pt x="386" y="300"/>
                      <a:pt x="411" y="359"/>
                    </a:cubicBezTo>
                    <a:cubicBezTo>
                      <a:pt x="423" y="386"/>
                      <a:pt x="429" y="434"/>
                      <a:pt x="429" y="504"/>
                    </a:cubicBezTo>
                    <a:cubicBezTo>
                      <a:pt x="429" y="851"/>
                      <a:pt x="429" y="851"/>
                      <a:pt x="429" y="851"/>
                    </a:cubicBezTo>
                    <a:cubicBezTo>
                      <a:pt x="332" y="851"/>
                      <a:pt x="332" y="851"/>
                      <a:pt x="332" y="851"/>
                    </a:cubicBezTo>
                    <a:cubicBezTo>
                      <a:pt x="332" y="489"/>
                      <a:pt x="332" y="489"/>
                      <a:pt x="332" y="489"/>
                    </a:cubicBezTo>
                    <a:cubicBezTo>
                      <a:pt x="332" y="435"/>
                      <a:pt x="326" y="397"/>
                      <a:pt x="315" y="374"/>
                    </a:cubicBezTo>
                    <a:cubicBezTo>
                      <a:pt x="300" y="344"/>
                      <a:pt x="271" y="329"/>
                      <a:pt x="229" y="329"/>
                    </a:cubicBezTo>
                    <a:cubicBezTo>
                      <a:pt x="192" y="329"/>
                      <a:pt x="147" y="340"/>
                      <a:pt x="96" y="363"/>
                    </a:cubicBezTo>
                    <a:cubicBezTo>
                      <a:pt x="96" y="851"/>
                      <a:pt x="96" y="851"/>
                      <a:pt x="96" y="851"/>
                    </a:cubicBezTo>
                    <a:lnTo>
                      <a:pt x="0" y="85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 sz="1600"/>
              </a:p>
            </p:txBody>
          </p:sp>
          <p:sp>
            <p:nvSpPr>
              <p:cNvPr id="12" name="Freeform 77"/>
              <p:cNvSpPr>
                <a:spLocks noEditPoints="1"/>
              </p:cNvSpPr>
              <p:nvPr/>
            </p:nvSpPr>
            <p:spPr bwMode="gray">
              <a:xfrm>
                <a:off x="1845" y="1949"/>
                <a:ext cx="88" cy="120"/>
              </a:xfrm>
              <a:custGeom>
                <a:avLst/>
                <a:gdLst>
                  <a:gd name="T0" fmla="*/ 0 w 439"/>
                  <a:gd name="T1" fmla="*/ 0 h 597"/>
                  <a:gd name="T2" fmla="*/ 0 w 439"/>
                  <a:gd name="T3" fmla="*/ 0 h 597"/>
                  <a:gd name="T4" fmla="*/ 0 w 439"/>
                  <a:gd name="T5" fmla="*/ 0 h 597"/>
                  <a:gd name="T6" fmla="*/ 0 w 439"/>
                  <a:gd name="T7" fmla="*/ 0 h 597"/>
                  <a:gd name="T8" fmla="*/ 0 w 439"/>
                  <a:gd name="T9" fmla="*/ 0 h 597"/>
                  <a:gd name="T10" fmla="*/ 0 w 439"/>
                  <a:gd name="T11" fmla="*/ 0 h 597"/>
                  <a:gd name="T12" fmla="*/ 0 w 439"/>
                  <a:gd name="T13" fmla="*/ 0 h 597"/>
                  <a:gd name="T14" fmla="*/ 0 w 439"/>
                  <a:gd name="T15" fmla="*/ 0 h 597"/>
                  <a:gd name="T16" fmla="*/ 0 w 439"/>
                  <a:gd name="T17" fmla="*/ 0 h 597"/>
                  <a:gd name="T18" fmla="*/ 0 w 439"/>
                  <a:gd name="T19" fmla="*/ 0 h 597"/>
                  <a:gd name="T20" fmla="*/ 0 w 439"/>
                  <a:gd name="T21" fmla="*/ 0 h 597"/>
                  <a:gd name="T22" fmla="*/ 0 w 439"/>
                  <a:gd name="T23" fmla="*/ 0 h 597"/>
                  <a:gd name="T24" fmla="*/ 0 w 439"/>
                  <a:gd name="T25" fmla="*/ 0 h 597"/>
                  <a:gd name="T26" fmla="*/ 0 w 439"/>
                  <a:gd name="T27" fmla="*/ 0 h 597"/>
                  <a:gd name="T28" fmla="*/ 0 w 439"/>
                  <a:gd name="T29" fmla="*/ 0 h 597"/>
                  <a:gd name="T30" fmla="*/ 0 w 439"/>
                  <a:gd name="T31" fmla="*/ 0 h 597"/>
                  <a:gd name="T32" fmla="*/ 0 w 439"/>
                  <a:gd name="T33" fmla="*/ 0 h 597"/>
                  <a:gd name="T34" fmla="*/ 0 w 439"/>
                  <a:gd name="T35" fmla="*/ 0 h 597"/>
                  <a:gd name="T36" fmla="*/ 0 w 439"/>
                  <a:gd name="T37" fmla="*/ 0 h 597"/>
                  <a:gd name="T38" fmla="*/ 0 w 439"/>
                  <a:gd name="T39" fmla="*/ 0 h 597"/>
                  <a:gd name="T40" fmla="*/ 0 w 439"/>
                  <a:gd name="T41" fmla="*/ 0 h 597"/>
                  <a:gd name="T42" fmla="*/ 0 w 439"/>
                  <a:gd name="T43" fmla="*/ 0 h 597"/>
                  <a:gd name="T44" fmla="*/ 0 w 439"/>
                  <a:gd name="T45" fmla="*/ 0 h 597"/>
                  <a:gd name="T46" fmla="*/ 0 w 439"/>
                  <a:gd name="T47" fmla="*/ 0 h 597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439" h="597">
                    <a:moveTo>
                      <a:pt x="342" y="224"/>
                    </a:moveTo>
                    <a:cubicBezTo>
                      <a:pt x="342" y="194"/>
                      <a:pt x="342" y="194"/>
                      <a:pt x="342" y="194"/>
                    </a:cubicBezTo>
                    <a:cubicBezTo>
                      <a:pt x="342" y="157"/>
                      <a:pt x="336" y="129"/>
                      <a:pt x="324" y="108"/>
                    </a:cubicBezTo>
                    <a:cubicBezTo>
                      <a:pt x="306" y="77"/>
                      <a:pt x="269" y="61"/>
                      <a:pt x="212" y="61"/>
                    </a:cubicBezTo>
                    <a:cubicBezTo>
                      <a:pt x="160" y="61"/>
                      <a:pt x="108" y="71"/>
                      <a:pt x="55" y="93"/>
                    </a:cubicBezTo>
                    <a:cubicBezTo>
                      <a:pt x="55" y="25"/>
                      <a:pt x="55" y="25"/>
                      <a:pt x="55" y="25"/>
                    </a:cubicBezTo>
                    <a:cubicBezTo>
                      <a:pt x="108" y="9"/>
                      <a:pt x="164" y="0"/>
                      <a:pt x="222" y="0"/>
                    </a:cubicBezTo>
                    <a:cubicBezTo>
                      <a:pt x="310" y="0"/>
                      <a:pt x="371" y="20"/>
                      <a:pt x="404" y="60"/>
                    </a:cubicBezTo>
                    <a:cubicBezTo>
                      <a:pt x="422" y="82"/>
                      <a:pt x="432" y="114"/>
                      <a:pt x="437" y="157"/>
                    </a:cubicBezTo>
                    <a:cubicBezTo>
                      <a:pt x="438" y="173"/>
                      <a:pt x="439" y="196"/>
                      <a:pt x="439" y="227"/>
                    </a:cubicBezTo>
                    <a:cubicBezTo>
                      <a:pt x="439" y="570"/>
                      <a:pt x="439" y="570"/>
                      <a:pt x="439" y="570"/>
                    </a:cubicBezTo>
                    <a:cubicBezTo>
                      <a:pt x="373" y="588"/>
                      <a:pt x="303" y="597"/>
                      <a:pt x="229" y="597"/>
                    </a:cubicBezTo>
                    <a:cubicBezTo>
                      <a:pt x="158" y="597"/>
                      <a:pt x="103" y="586"/>
                      <a:pt x="64" y="564"/>
                    </a:cubicBezTo>
                    <a:cubicBezTo>
                      <a:pt x="22" y="540"/>
                      <a:pt x="0" y="498"/>
                      <a:pt x="0" y="438"/>
                    </a:cubicBezTo>
                    <a:cubicBezTo>
                      <a:pt x="0" y="369"/>
                      <a:pt x="25" y="318"/>
                      <a:pt x="75" y="285"/>
                    </a:cubicBezTo>
                    <a:cubicBezTo>
                      <a:pt x="112" y="261"/>
                      <a:pt x="175" y="243"/>
                      <a:pt x="263" y="233"/>
                    </a:cubicBezTo>
                    <a:cubicBezTo>
                      <a:pt x="279" y="231"/>
                      <a:pt x="306" y="228"/>
                      <a:pt x="342" y="224"/>
                    </a:cubicBezTo>
                    <a:moveTo>
                      <a:pt x="342" y="279"/>
                    </a:moveTo>
                    <a:cubicBezTo>
                      <a:pt x="283" y="285"/>
                      <a:pt x="239" y="292"/>
                      <a:pt x="208" y="300"/>
                    </a:cubicBezTo>
                    <a:cubicBezTo>
                      <a:pt x="135" y="318"/>
                      <a:pt x="99" y="361"/>
                      <a:pt x="99" y="428"/>
                    </a:cubicBezTo>
                    <a:cubicBezTo>
                      <a:pt x="99" y="465"/>
                      <a:pt x="109" y="492"/>
                      <a:pt x="131" y="509"/>
                    </a:cubicBezTo>
                    <a:cubicBezTo>
                      <a:pt x="155" y="529"/>
                      <a:pt x="192" y="539"/>
                      <a:pt x="244" y="539"/>
                    </a:cubicBezTo>
                    <a:cubicBezTo>
                      <a:pt x="279" y="539"/>
                      <a:pt x="312" y="534"/>
                      <a:pt x="342" y="525"/>
                    </a:cubicBezTo>
                    <a:lnTo>
                      <a:pt x="342" y="27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 sz="1600"/>
              </a:p>
            </p:txBody>
          </p:sp>
          <p:sp>
            <p:nvSpPr>
              <p:cNvPr id="13" name="Freeform 78"/>
              <p:cNvSpPr>
                <a:spLocks noEditPoints="1"/>
              </p:cNvSpPr>
              <p:nvPr/>
            </p:nvSpPr>
            <p:spPr bwMode="gray">
              <a:xfrm>
                <a:off x="1968" y="1949"/>
                <a:ext cx="88" cy="171"/>
              </a:xfrm>
              <a:custGeom>
                <a:avLst/>
                <a:gdLst>
                  <a:gd name="T0" fmla="*/ 0 w 444"/>
                  <a:gd name="T1" fmla="*/ 0 h 852"/>
                  <a:gd name="T2" fmla="*/ 0 w 444"/>
                  <a:gd name="T3" fmla="*/ 0 h 852"/>
                  <a:gd name="T4" fmla="*/ 0 w 444"/>
                  <a:gd name="T5" fmla="*/ 0 h 852"/>
                  <a:gd name="T6" fmla="*/ 0 w 444"/>
                  <a:gd name="T7" fmla="*/ 0 h 852"/>
                  <a:gd name="T8" fmla="*/ 0 w 444"/>
                  <a:gd name="T9" fmla="*/ 0 h 852"/>
                  <a:gd name="T10" fmla="*/ 0 w 444"/>
                  <a:gd name="T11" fmla="*/ 0 h 852"/>
                  <a:gd name="T12" fmla="*/ 0 w 444"/>
                  <a:gd name="T13" fmla="*/ 0 h 852"/>
                  <a:gd name="T14" fmla="*/ 0 w 444"/>
                  <a:gd name="T15" fmla="*/ 0 h 852"/>
                  <a:gd name="T16" fmla="*/ 0 w 444"/>
                  <a:gd name="T17" fmla="*/ 0 h 852"/>
                  <a:gd name="T18" fmla="*/ 0 w 444"/>
                  <a:gd name="T19" fmla="*/ 0 h 852"/>
                  <a:gd name="T20" fmla="*/ 0 w 444"/>
                  <a:gd name="T21" fmla="*/ 0 h 852"/>
                  <a:gd name="T22" fmla="*/ 0 w 444"/>
                  <a:gd name="T23" fmla="*/ 0 h 852"/>
                  <a:gd name="T24" fmla="*/ 0 w 444"/>
                  <a:gd name="T25" fmla="*/ 0 h 852"/>
                  <a:gd name="T26" fmla="*/ 0 w 444"/>
                  <a:gd name="T27" fmla="*/ 0 h 852"/>
                  <a:gd name="T28" fmla="*/ 0 w 444"/>
                  <a:gd name="T29" fmla="*/ 0 h 852"/>
                  <a:gd name="T30" fmla="*/ 0 w 444"/>
                  <a:gd name="T31" fmla="*/ 0 h 852"/>
                  <a:gd name="T32" fmla="*/ 0 w 444"/>
                  <a:gd name="T33" fmla="*/ 0 h 852"/>
                  <a:gd name="T34" fmla="*/ 0 w 444"/>
                  <a:gd name="T35" fmla="*/ 0 h 852"/>
                  <a:gd name="T36" fmla="*/ 0 w 444"/>
                  <a:gd name="T37" fmla="*/ 0 h 852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444" h="852">
                    <a:moveTo>
                      <a:pt x="96" y="557"/>
                    </a:moveTo>
                    <a:cubicBezTo>
                      <a:pt x="96" y="852"/>
                      <a:pt x="96" y="852"/>
                      <a:pt x="96" y="852"/>
                    </a:cubicBezTo>
                    <a:cubicBezTo>
                      <a:pt x="0" y="852"/>
                      <a:pt x="0" y="852"/>
                      <a:pt x="0" y="852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66" y="8"/>
                      <a:pt x="131" y="0"/>
                      <a:pt x="195" y="0"/>
                    </a:cubicBezTo>
                    <a:cubicBezTo>
                      <a:pt x="293" y="0"/>
                      <a:pt x="360" y="30"/>
                      <a:pt x="396" y="89"/>
                    </a:cubicBezTo>
                    <a:cubicBezTo>
                      <a:pt x="428" y="142"/>
                      <a:pt x="444" y="211"/>
                      <a:pt x="444" y="298"/>
                    </a:cubicBezTo>
                    <a:cubicBezTo>
                      <a:pt x="444" y="389"/>
                      <a:pt x="423" y="462"/>
                      <a:pt x="383" y="519"/>
                    </a:cubicBezTo>
                    <a:cubicBezTo>
                      <a:pt x="345" y="571"/>
                      <a:pt x="288" y="597"/>
                      <a:pt x="214" y="597"/>
                    </a:cubicBezTo>
                    <a:cubicBezTo>
                      <a:pt x="183" y="597"/>
                      <a:pt x="156" y="592"/>
                      <a:pt x="134" y="582"/>
                    </a:cubicBezTo>
                    <a:cubicBezTo>
                      <a:pt x="124" y="577"/>
                      <a:pt x="111" y="569"/>
                      <a:pt x="96" y="557"/>
                    </a:cubicBezTo>
                    <a:moveTo>
                      <a:pt x="96" y="490"/>
                    </a:moveTo>
                    <a:cubicBezTo>
                      <a:pt x="129" y="522"/>
                      <a:pt x="165" y="539"/>
                      <a:pt x="204" y="539"/>
                    </a:cubicBezTo>
                    <a:cubicBezTo>
                      <a:pt x="253" y="539"/>
                      <a:pt x="290" y="514"/>
                      <a:pt x="313" y="464"/>
                    </a:cubicBezTo>
                    <a:cubicBezTo>
                      <a:pt x="335" y="418"/>
                      <a:pt x="345" y="363"/>
                      <a:pt x="345" y="296"/>
                    </a:cubicBezTo>
                    <a:cubicBezTo>
                      <a:pt x="345" y="214"/>
                      <a:pt x="331" y="152"/>
                      <a:pt x="302" y="110"/>
                    </a:cubicBezTo>
                    <a:cubicBezTo>
                      <a:pt x="278" y="76"/>
                      <a:pt x="238" y="59"/>
                      <a:pt x="180" y="59"/>
                    </a:cubicBezTo>
                    <a:cubicBezTo>
                      <a:pt x="155" y="59"/>
                      <a:pt x="127" y="61"/>
                      <a:pt x="96" y="66"/>
                    </a:cubicBezTo>
                    <a:lnTo>
                      <a:pt x="96" y="49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 sz="1600"/>
              </a:p>
            </p:txBody>
          </p:sp>
          <p:sp>
            <p:nvSpPr>
              <p:cNvPr id="14" name="Freeform 79"/>
              <p:cNvSpPr>
                <a:spLocks noEditPoints="1"/>
              </p:cNvSpPr>
              <p:nvPr/>
            </p:nvSpPr>
            <p:spPr bwMode="gray">
              <a:xfrm>
                <a:off x="2083" y="1911"/>
                <a:ext cx="24" cy="154"/>
              </a:xfrm>
              <a:custGeom>
                <a:avLst/>
                <a:gdLst>
                  <a:gd name="T0" fmla="*/ 0 w 118"/>
                  <a:gd name="T1" fmla="*/ 0 h 772"/>
                  <a:gd name="T2" fmla="*/ 0 w 118"/>
                  <a:gd name="T3" fmla="*/ 0 h 772"/>
                  <a:gd name="T4" fmla="*/ 0 w 118"/>
                  <a:gd name="T5" fmla="*/ 0 h 772"/>
                  <a:gd name="T6" fmla="*/ 0 w 118"/>
                  <a:gd name="T7" fmla="*/ 0 h 772"/>
                  <a:gd name="T8" fmla="*/ 0 w 118"/>
                  <a:gd name="T9" fmla="*/ 0 h 772"/>
                  <a:gd name="T10" fmla="*/ 0 w 118"/>
                  <a:gd name="T11" fmla="*/ 0 h 772"/>
                  <a:gd name="T12" fmla="*/ 0 w 118"/>
                  <a:gd name="T13" fmla="*/ 0 h 772"/>
                  <a:gd name="T14" fmla="*/ 0 w 118"/>
                  <a:gd name="T15" fmla="*/ 0 h 772"/>
                  <a:gd name="T16" fmla="*/ 0 w 118"/>
                  <a:gd name="T17" fmla="*/ 0 h 772"/>
                  <a:gd name="T18" fmla="*/ 0 w 118"/>
                  <a:gd name="T19" fmla="*/ 0 h 772"/>
                  <a:gd name="T20" fmla="*/ 0 w 118"/>
                  <a:gd name="T21" fmla="*/ 0 h 772"/>
                  <a:gd name="T22" fmla="*/ 0 w 118"/>
                  <a:gd name="T23" fmla="*/ 0 h 772"/>
                  <a:gd name="T24" fmla="*/ 0 w 118"/>
                  <a:gd name="T25" fmla="*/ 0 h 772"/>
                  <a:gd name="T26" fmla="*/ 0 w 118"/>
                  <a:gd name="T27" fmla="*/ 0 h 772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118" h="772">
                    <a:moveTo>
                      <a:pt x="59" y="0"/>
                    </a:moveTo>
                    <a:cubicBezTo>
                      <a:pt x="76" y="0"/>
                      <a:pt x="91" y="6"/>
                      <a:pt x="103" y="19"/>
                    </a:cubicBezTo>
                    <a:cubicBezTo>
                      <a:pt x="113" y="31"/>
                      <a:pt x="118" y="44"/>
                      <a:pt x="118" y="59"/>
                    </a:cubicBezTo>
                    <a:cubicBezTo>
                      <a:pt x="118" y="77"/>
                      <a:pt x="111" y="91"/>
                      <a:pt x="98" y="103"/>
                    </a:cubicBezTo>
                    <a:cubicBezTo>
                      <a:pt x="87" y="113"/>
                      <a:pt x="74" y="118"/>
                      <a:pt x="58" y="118"/>
                    </a:cubicBezTo>
                    <a:cubicBezTo>
                      <a:pt x="41" y="118"/>
                      <a:pt x="26" y="112"/>
                      <a:pt x="15" y="99"/>
                    </a:cubicBezTo>
                    <a:cubicBezTo>
                      <a:pt x="5" y="88"/>
                      <a:pt x="0" y="74"/>
                      <a:pt x="0" y="58"/>
                    </a:cubicBezTo>
                    <a:cubicBezTo>
                      <a:pt x="0" y="41"/>
                      <a:pt x="6" y="27"/>
                      <a:pt x="19" y="15"/>
                    </a:cubicBezTo>
                    <a:cubicBezTo>
                      <a:pt x="30" y="5"/>
                      <a:pt x="43" y="0"/>
                      <a:pt x="59" y="0"/>
                    </a:cubicBezTo>
                    <a:moveTo>
                      <a:pt x="12" y="207"/>
                    </a:moveTo>
                    <a:cubicBezTo>
                      <a:pt x="108" y="207"/>
                      <a:pt x="108" y="207"/>
                      <a:pt x="108" y="207"/>
                    </a:cubicBezTo>
                    <a:cubicBezTo>
                      <a:pt x="108" y="772"/>
                      <a:pt x="108" y="772"/>
                      <a:pt x="108" y="772"/>
                    </a:cubicBezTo>
                    <a:cubicBezTo>
                      <a:pt x="12" y="772"/>
                      <a:pt x="12" y="772"/>
                      <a:pt x="12" y="772"/>
                    </a:cubicBezTo>
                    <a:lnTo>
                      <a:pt x="12" y="20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 sz="1600"/>
              </a:p>
            </p:txBody>
          </p:sp>
          <p:sp>
            <p:nvSpPr>
              <p:cNvPr id="15" name="Freeform 80"/>
              <p:cNvSpPr>
                <a:spLocks/>
              </p:cNvSpPr>
              <p:nvPr/>
            </p:nvSpPr>
            <p:spPr bwMode="gray">
              <a:xfrm>
                <a:off x="2141" y="1949"/>
                <a:ext cx="86" cy="116"/>
              </a:xfrm>
              <a:custGeom>
                <a:avLst/>
                <a:gdLst>
                  <a:gd name="T0" fmla="*/ 0 w 430"/>
                  <a:gd name="T1" fmla="*/ 0 h 581"/>
                  <a:gd name="T2" fmla="*/ 0 w 430"/>
                  <a:gd name="T3" fmla="*/ 0 h 581"/>
                  <a:gd name="T4" fmla="*/ 0 w 430"/>
                  <a:gd name="T5" fmla="*/ 0 h 581"/>
                  <a:gd name="T6" fmla="*/ 0 w 430"/>
                  <a:gd name="T7" fmla="*/ 0 h 581"/>
                  <a:gd name="T8" fmla="*/ 0 w 430"/>
                  <a:gd name="T9" fmla="*/ 0 h 581"/>
                  <a:gd name="T10" fmla="*/ 0 w 430"/>
                  <a:gd name="T11" fmla="*/ 0 h 581"/>
                  <a:gd name="T12" fmla="*/ 0 w 430"/>
                  <a:gd name="T13" fmla="*/ 0 h 581"/>
                  <a:gd name="T14" fmla="*/ 0 w 430"/>
                  <a:gd name="T15" fmla="*/ 0 h 581"/>
                  <a:gd name="T16" fmla="*/ 0 w 430"/>
                  <a:gd name="T17" fmla="*/ 0 h 581"/>
                  <a:gd name="T18" fmla="*/ 0 w 430"/>
                  <a:gd name="T19" fmla="*/ 0 h 581"/>
                  <a:gd name="T20" fmla="*/ 0 w 430"/>
                  <a:gd name="T21" fmla="*/ 0 h 581"/>
                  <a:gd name="T22" fmla="*/ 0 w 430"/>
                  <a:gd name="T23" fmla="*/ 0 h 581"/>
                  <a:gd name="T24" fmla="*/ 0 w 430"/>
                  <a:gd name="T25" fmla="*/ 0 h 58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430" h="581">
                    <a:moveTo>
                      <a:pt x="0" y="581"/>
                    </a:moveTo>
                    <a:cubicBezTo>
                      <a:pt x="0" y="23"/>
                      <a:pt x="0" y="23"/>
                      <a:pt x="0" y="23"/>
                    </a:cubicBezTo>
                    <a:cubicBezTo>
                      <a:pt x="90" y="8"/>
                      <a:pt x="165" y="0"/>
                      <a:pt x="227" y="0"/>
                    </a:cubicBezTo>
                    <a:cubicBezTo>
                      <a:pt x="325" y="0"/>
                      <a:pt x="387" y="30"/>
                      <a:pt x="412" y="89"/>
                    </a:cubicBezTo>
                    <a:cubicBezTo>
                      <a:pt x="424" y="117"/>
                      <a:pt x="430" y="165"/>
                      <a:pt x="430" y="234"/>
                    </a:cubicBezTo>
                    <a:cubicBezTo>
                      <a:pt x="430" y="581"/>
                      <a:pt x="430" y="581"/>
                      <a:pt x="430" y="581"/>
                    </a:cubicBezTo>
                    <a:cubicBezTo>
                      <a:pt x="333" y="581"/>
                      <a:pt x="333" y="581"/>
                      <a:pt x="333" y="581"/>
                    </a:cubicBezTo>
                    <a:cubicBezTo>
                      <a:pt x="333" y="240"/>
                      <a:pt x="333" y="240"/>
                      <a:pt x="333" y="240"/>
                    </a:cubicBezTo>
                    <a:cubicBezTo>
                      <a:pt x="333" y="173"/>
                      <a:pt x="327" y="128"/>
                      <a:pt x="316" y="105"/>
                    </a:cubicBezTo>
                    <a:cubicBezTo>
                      <a:pt x="300" y="74"/>
                      <a:pt x="267" y="59"/>
                      <a:pt x="217" y="59"/>
                    </a:cubicBezTo>
                    <a:cubicBezTo>
                      <a:pt x="178" y="59"/>
                      <a:pt x="138" y="63"/>
                      <a:pt x="97" y="71"/>
                    </a:cubicBezTo>
                    <a:cubicBezTo>
                      <a:pt x="97" y="581"/>
                      <a:pt x="97" y="581"/>
                      <a:pt x="97" y="581"/>
                    </a:cubicBezTo>
                    <a:lnTo>
                      <a:pt x="0" y="58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 sz="1600"/>
              </a:p>
            </p:txBody>
          </p:sp>
          <p:sp>
            <p:nvSpPr>
              <p:cNvPr id="16" name="Freeform 81"/>
              <p:cNvSpPr>
                <a:spLocks noEditPoints="1"/>
              </p:cNvSpPr>
              <p:nvPr/>
            </p:nvSpPr>
            <p:spPr bwMode="gray">
              <a:xfrm>
                <a:off x="2254" y="1949"/>
                <a:ext cx="89" cy="172"/>
              </a:xfrm>
              <a:custGeom>
                <a:avLst/>
                <a:gdLst>
                  <a:gd name="T0" fmla="*/ 0 w 446"/>
                  <a:gd name="T1" fmla="*/ 0 h 861"/>
                  <a:gd name="T2" fmla="*/ 0 w 446"/>
                  <a:gd name="T3" fmla="*/ 0 h 861"/>
                  <a:gd name="T4" fmla="*/ 0 w 446"/>
                  <a:gd name="T5" fmla="*/ 0 h 861"/>
                  <a:gd name="T6" fmla="*/ 0 w 446"/>
                  <a:gd name="T7" fmla="*/ 0 h 861"/>
                  <a:gd name="T8" fmla="*/ 0 w 446"/>
                  <a:gd name="T9" fmla="*/ 0 h 861"/>
                  <a:gd name="T10" fmla="*/ 0 w 446"/>
                  <a:gd name="T11" fmla="*/ 0 h 861"/>
                  <a:gd name="T12" fmla="*/ 0 w 446"/>
                  <a:gd name="T13" fmla="*/ 0 h 861"/>
                  <a:gd name="T14" fmla="*/ 0 w 446"/>
                  <a:gd name="T15" fmla="*/ 0 h 861"/>
                  <a:gd name="T16" fmla="*/ 0 w 446"/>
                  <a:gd name="T17" fmla="*/ 0 h 861"/>
                  <a:gd name="T18" fmla="*/ 0 w 446"/>
                  <a:gd name="T19" fmla="*/ 0 h 861"/>
                  <a:gd name="T20" fmla="*/ 0 w 446"/>
                  <a:gd name="T21" fmla="*/ 0 h 861"/>
                  <a:gd name="T22" fmla="*/ 0 w 446"/>
                  <a:gd name="T23" fmla="*/ 0 h 861"/>
                  <a:gd name="T24" fmla="*/ 0 w 446"/>
                  <a:gd name="T25" fmla="*/ 0 h 861"/>
                  <a:gd name="T26" fmla="*/ 0 w 446"/>
                  <a:gd name="T27" fmla="*/ 0 h 861"/>
                  <a:gd name="T28" fmla="*/ 0 w 446"/>
                  <a:gd name="T29" fmla="*/ 0 h 861"/>
                  <a:gd name="T30" fmla="*/ 0 w 446"/>
                  <a:gd name="T31" fmla="*/ 0 h 861"/>
                  <a:gd name="T32" fmla="*/ 0 w 446"/>
                  <a:gd name="T33" fmla="*/ 0 h 861"/>
                  <a:gd name="T34" fmla="*/ 0 w 446"/>
                  <a:gd name="T35" fmla="*/ 0 h 861"/>
                  <a:gd name="T36" fmla="*/ 0 w 446"/>
                  <a:gd name="T37" fmla="*/ 0 h 861"/>
                  <a:gd name="T38" fmla="*/ 0 w 446"/>
                  <a:gd name="T39" fmla="*/ 0 h 861"/>
                  <a:gd name="T40" fmla="*/ 0 w 446"/>
                  <a:gd name="T41" fmla="*/ 0 h 861"/>
                  <a:gd name="T42" fmla="*/ 0 w 446"/>
                  <a:gd name="T43" fmla="*/ 0 h 861"/>
                  <a:gd name="T44" fmla="*/ 0 w 446"/>
                  <a:gd name="T45" fmla="*/ 0 h 861"/>
                  <a:gd name="T46" fmla="*/ 0 w 446"/>
                  <a:gd name="T47" fmla="*/ 0 h 861"/>
                  <a:gd name="T48" fmla="*/ 0 w 446"/>
                  <a:gd name="T49" fmla="*/ 0 h 861"/>
                  <a:gd name="T50" fmla="*/ 0 w 446"/>
                  <a:gd name="T51" fmla="*/ 0 h 861"/>
                  <a:gd name="T52" fmla="*/ 0 w 446"/>
                  <a:gd name="T53" fmla="*/ 0 h 861"/>
                  <a:gd name="T54" fmla="*/ 0 w 446"/>
                  <a:gd name="T55" fmla="*/ 0 h 861"/>
                  <a:gd name="T56" fmla="*/ 0 w 446"/>
                  <a:gd name="T57" fmla="*/ 0 h 861"/>
                  <a:gd name="T58" fmla="*/ 0 w 446"/>
                  <a:gd name="T59" fmla="*/ 0 h 861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0" t="0" r="r" b="b"/>
                <a:pathLst>
                  <a:path w="446" h="861">
                    <a:moveTo>
                      <a:pt x="349" y="531"/>
                    </a:moveTo>
                    <a:cubicBezTo>
                      <a:pt x="334" y="547"/>
                      <a:pt x="322" y="558"/>
                      <a:pt x="313" y="565"/>
                    </a:cubicBezTo>
                    <a:cubicBezTo>
                      <a:pt x="283" y="586"/>
                      <a:pt x="246" y="597"/>
                      <a:pt x="201" y="597"/>
                    </a:cubicBezTo>
                    <a:cubicBezTo>
                      <a:pt x="150" y="597"/>
                      <a:pt x="109" y="583"/>
                      <a:pt x="76" y="555"/>
                    </a:cubicBezTo>
                    <a:cubicBezTo>
                      <a:pt x="25" y="513"/>
                      <a:pt x="0" y="436"/>
                      <a:pt x="0" y="325"/>
                    </a:cubicBezTo>
                    <a:cubicBezTo>
                      <a:pt x="0" y="235"/>
                      <a:pt x="18" y="162"/>
                      <a:pt x="55" y="103"/>
                    </a:cubicBezTo>
                    <a:cubicBezTo>
                      <a:pt x="99" y="35"/>
                      <a:pt x="169" y="0"/>
                      <a:pt x="267" y="0"/>
                    </a:cubicBezTo>
                    <a:cubicBezTo>
                      <a:pt x="324" y="0"/>
                      <a:pt x="384" y="8"/>
                      <a:pt x="446" y="23"/>
                    </a:cubicBezTo>
                    <a:cubicBezTo>
                      <a:pt x="446" y="471"/>
                      <a:pt x="446" y="471"/>
                      <a:pt x="446" y="471"/>
                    </a:cubicBezTo>
                    <a:cubicBezTo>
                      <a:pt x="446" y="554"/>
                      <a:pt x="442" y="617"/>
                      <a:pt x="435" y="661"/>
                    </a:cubicBezTo>
                    <a:cubicBezTo>
                      <a:pt x="422" y="740"/>
                      <a:pt x="387" y="794"/>
                      <a:pt x="330" y="824"/>
                    </a:cubicBezTo>
                    <a:cubicBezTo>
                      <a:pt x="284" y="849"/>
                      <a:pt x="224" y="861"/>
                      <a:pt x="149" y="861"/>
                    </a:cubicBezTo>
                    <a:cubicBezTo>
                      <a:pt x="129" y="861"/>
                      <a:pt x="104" y="859"/>
                      <a:pt x="77" y="856"/>
                    </a:cubicBezTo>
                    <a:cubicBezTo>
                      <a:pt x="77" y="798"/>
                      <a:pt x="77" y="798"/>
                      <a:pt x="77" y="798"/>
                    </a:cubicBezTo>
                    <a:cubicBezTo>
                      <a:pt x="102" y="801"/>
                      <a:pt x="126" y="802"/>
                      <a:pt x="149" y="802"/>
                    </a:cubicBezTo>
                    <a:cubicBezTo>
                      <a:pt x="202" y="802"/>
                      <a:pt x="241" y="796"/>
                      <a:pt x="267" y="781"/>
                    </a:cubicBezTo>
                    <a:cubicBezTo>
                      <a:pt x="305" y="761"/>
                      <a:pt x="330" y="725"/>
                      <a:pt x="340" y="673"/>
                    </a:cubicBezTo>
                    <a:cubicBezTo>
                      <a:pt x="346" y="643"/>
                      <a:pt x="349" y="606"/>
                      <a:pt x="349" y="562"/>
                    </a:cubicBezTo>
                    <a:lnTo>
                      <a:pt x="349" y="531"/>
                    </a:lnTo>
                    <a:close/>
                    <a:moveTo>
                      <a:pt x="349" y="64"/>
                    </a:moveTo>
                    <a:cubicBezTo>
                      <a:pt x="322" y="61"/>
                      <a:pt x="298" y="59"/>
                      <a:pt x="276" y="59"/>
                    </a:cubicBezTo>
                    <a:cubicBezTo>
                      <a:pt x="236" y="59"/>
                      <a:pt x="204" y="67"/>
                      <a:pt x="181" y="83"/>
                    </a:cubicBezTo>
                    <a:cubicBezTo>
                      <a:pt x="155" y="102"/>
                      <a:pt x="134" y="136"/>
                      <a:pt x="119" y="183"/>
                    </a:cubicBezTo>
                    <a:cubicBezTo>
                      <a:pt x="106" y="225"/>
                      <a:pt x="99" y="274"/>
                      <a:pt x="99" y="329"/>
                    </a:cubicBezTo>
                    <a:cubicBezTo>
                      <a:pt x="99" y="406"/>
                      <a:pt x="111" y="462"/>
                      <a:pt x="136" y="497"/>
                    </a:cubicBezTo>
                    <a:cubicBezTo>
                      <a:pt x="156" y="525"/>
                      <a:pt x="182" y="539"/>
                      <a:pt x="214" y="539"/>
                    </a:cubicBezTo>
                    <a:cubicBezTo>
                      <a:pt x="242" y="539"/>
                      <a:pt x="267" y="530"/>
                      <a:pt x="291" y="513"/>
                    </a:cubicBezTo>
                    <a:cubicBezTo>
                      <a:pt x="314" y="495"/>
                      <a:pt x="331" y="472"/>
                      <a:pt x="341" y="444"/>
                    </a:cubicBezTo>
                    <a:cubicBezTo>
                      <a:pt x="346" y="429"/>
                      <a:pt x="349" y="408"/>
                      <a:pt x="349" y="379"/>
                    </a:cubicBezTo>
                    <a:lnTo>
                      <a:pt x="349" y="6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 sz="1600"/>
              </a:p>
            </p:txBody>
          </p:sp>
          <p:sp>
            <p:nvSpPr>
              <p:cNvPr id="17" name="Freeform 82"/>
              <p:cNvSpPr>
                <a:spLocks/>
              </p:cNvSpPr>
              <p:nvPr/>
            </p:nvSpPr>
            <p:spPr bwMode="gray">
              <a:xfrm>
                <a:off x="2431" y="1922"/>
                <a:ext cx="50" cy="143"/>
              </a:xfrm>
              <a:custGeom>
                <a:avLst/>
                <a:gdLst>
                  <a:gd name="T0" fmla="*/ 0 w 249"/>
                  <a:gd name="T1" fmla="*/ 0 h 718"/>
                  <a:gd name="T2" fmla="*/ 0 w 249"/>
                  <a:gd name="T3" fmla="*/ 0 h 718"/>
                  <a:gd name="T4" fmla="*/ 0 w 249"/>
                  <a:gd name="T5" fmla="*/ 0 h 718"/>
                  <a:gd name="T6" fmla="*/ 0 w 249"/>
                  <a:gd name="T7" fmla="*/ 0 h 718"/>
                  <a:gd name="T8" fmla="*/ 0 w 249"/>
                  <a:gd name="T9" fmla="*/ 0 h 718"/>
                  <a:gd name="T10" fmla="*/ 0 w 249"/>
                  <a:gd name="T11" fmla="*/ 0 h 718"/>
                  <a:gd name="T12" fmla="*/ 0 w 249"/>
                  <a:gd name="T13" fmla="*/ 0 h 718"/>
                  <a:gd name="T14" fmla="*/ 0 w 249"/>
                  <a:gd name="T15" fmla="*/ 0 h 718"/>
                  <a:gd name="T16" fmla="*/ 0 w 249"/>
                  <a:gd name="T17" fmla="*/ 0 h 718"/>
                  <a:gd name="T18" fmla="*/ 0 w 249"/>
                  <a:gd name="T19" fmla="*/ 0 h 718"/>
                  <a:gd name="T20" fmla="*/ 0 w 249"/>
                  <a:gd name="T21" fmla="*/ 0 h 718"/>
                  <a:gd name="T22" fmla="*/ 0 w 249"/>
                  <a:gd name="T23" fmla="*/ 0 h 718"/>
                  <a:gd name="T24" fmla="*/ 0 w 249"/>
                  <a:gd name="T25" fmla="*/ 0 h 718"/>
                  <a:gd name="T26" fmla="*/ 0 w 249"/>
                  <a:gd name="T27" fmla="*/ 0 h 718"/>
                  <a:gd name="T28" fmla="*/ 0 w 249"/>
                  <a:gd name="T29" fmla="*/ 0 h 718"/>
                  <a:gd name="T30" fmla="*/ 0 w 249"/>
                  <a:gd name="T31" fmla="*/ 0 h 718"/>
                  <a:gd name="T32" fmla="*/ 0 w 249"/>
                  <a:gd name="T33" fmla="*/ 0 h 71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249" h="718">
                    <a:moveTo>
                      <a:pt x="0" y="0"/>
                    </a:moveTo>
                    <a:cubicBezTo>
                      <a:pt x="97" y="0"/>
                      <a:pt x="97" y="0"/>
                      <a:pt x="97" y="0"/>
                    </a:cubicBezTo>
                    <a:cubicBezTo>
                      <a:pt x="97" y="153"/>
                      <a:pt x="97" y="153"/>
                      <a:pt x="97" y="153"/>
                    </a:cubicBezTo>
                    <a:cubicBezTo>
                      <a:pt x="249" y="153"/>
                      <a:pt x="249" y="153"/>
                      <a:pt x="249" y="153"/>
                    </a:cubicBezTo>
                    <a:cubicBezTo>
                      <a:pt x="249" y="215"/>
                      <a:pt x="249" y="215"/>
                      <a:pt x="249" y="215"/>
                    </a:cubicBezTo>
                    <a:cubicBezTo>
                      <a:pt x="97" y="215"/>
                      <a:pt x="97" y="215"/>
                      <a:pt x="97" y="215"/>
                    </a:cubicBezTo>
                    <a:cubicBezTo>
                      <a:pt x="97" y="515"/>
                      <a:pt x="97" y="515"/>
                      <a:pt x="97" y="515"/>
                    </a:cubicBezTo>
                    <a:cubicBezTo>
                      <a:pt x="97" y="572"/>
                      <a:pt x="105" y="610"/>
                      <a:pt x="122" y="630"/>
                    </a:cubicBezTo>
                    <a:cubicBezTo>
                      <a:pt x="134" y="644"/>
                      <a:pt x="152" y="652"/>
                      <a:pt x="176" y="655"/>
                    </a:cubicBezTo>
                    <a:cubicBezTo>
                      <a:pt x="184" y="656"/>
                      <a:pt x="197" y="657"/>
                      <a:pt x="217" y="657"/>
                    </a:cubicBezTo>
                    <a:cubicBezTo>
                      <a:pt x="249" y="657"/>
                      <a:pt x="249" y="657"/>
                      <a:pt x="249" y="657"/>
                    </a:cubicBezTo>
                    <a:cubicBezTo>
                      <a:pt x="249" y="718"/>
                      <a:pt x="249" y="718"/>
                      <a:pt x="249" y="718"/>
                    </a:cubicBezTo>
                    <a:cubicBezTo>
                      <a:pt x="197" y="718"/>
                      <a:pt x="197" y="718"/>
                      <a:pt x="197" y="718"/>
                    </a:cubicBezTo>
                    <a:cubicBezTo>
                      <a:pt x="155" y="718"/>
                      <a:pt x="123" y="715"/>
                      <a:pt x="99" y="709"/>
                    </a:cubicBezTo>
                    <a:cubicBezTo>
                      <a:pt x="50" y="695"/>
                      <a:pt x="20" y="663"/>
                      <a:pt x="9" y="613"/>
                    </a:cubicBezTo>
                    <a:cubicBezTo>
                      <a:pt x="3" y="586"/>
                      <a:pt x="0" y="549"/>
                      <a:pt x="0" y="501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 sz="1600"/>
              </a:p>
            </p:txBody>
          </p:sp>
          <p:sp>
            <p:nvSpPr>
              <p:cNvPr id="18" name="Freeform 83"/>
              <p:cNvSpPr>
                <a:spLocks noEditPoints="1"/>
              </p:cNvSpPr>
              <p:nvPr/>
            </p:nvSpPr>
            <p:spPr bwMode="gray">
              <a:xfrm>
                <a:off x="2502" y="1949"/>
                <a:ext cx="95" cy="120"/>
              </a:xfrm>
              <a:custGeom>
                <a:avLst/>
                <a:gdLst>
                  <a:gd name="T0" fmla="*/ 0 w 476"/>
                  <a:gd name="T1" fmla="*/ 0 h 597"/>
                  <a:gd name="T2" fmla="*/ 0 w 476"/>
                  <a:gd name="T3" fmla="*/ 0 h 597"/>
                  <a:gd name="T4" fmla="*/ 0 w 476"/>
                  <a:gd name="T5" fmla="*/ 0 h 597"/>
                  <a:gd name="T6" fmla="*/ 0 w 476"/>
                  <a:gd name="T7" fmla="*/ 0 h 597"/>
                  <a:gd name="T8" fmla="*/ 0 w 476"/>
                  <a:gd name="T9" fmla="*/ 0 h 597"/>
                  <a:gd name="T10" fmla="*/ 0 w 476"/>
                  <a:gd name="T11" fmla="*/ 0 h 597"/>
                  <a:gd name="T12" fmla="*/ 0 w 476"/>
                  <a:gd name="T13" fmla="*/ 0 h 597"/>
                  <a:gd name="T14" fmla="*/ 0 w 476"/>
                  <a:gd name="T15" fmla="*/ 0 h 597"/>
                  <a:gd name="T16" fmla="*/ 0 w 476"/>
                  <a:gd name="T17" fmla="*/ 0 h 597"/>
                  <a:gd name="T18" fmla="*/ 0 w 476"/>
                  <a:gd name="T19" fmla="*/ 0 h 597"/>
                  <a:gd name="T20" fmla="*/ 0 w 476"/>
                  <a:gd name="T21" fmla="*/ 0 h 597"/>
                  <a:gd name="T22" fmla="*/ 0 w 476"/>
                  <a:gd name="T23" fmla="*/ 0 h 597"/>
                  <a:gd name="T24" fmla="*/ 0 w 476"/>
                  <a:gd name="T25" fmla="*/ 0 h 597"/>
                  <a:gd name="T26" fmla="*/ 0 w 476"/>
                  <a:gd name="T27" fmla="*/ 0 h 597"/>
                  <a:gd name="T28" fmla="*/ 0 w 476"/>
                  <a:gd name="T29" fmla="*/ 0 h 597"/>
                  <a:gd name="T30" fmla="*/ 0 w 476"/>
                  <a:gd name="T31" fmla="*/ 0 h 597"/>
                  <a:gd name="T32" fmla="*/ 0 w 476"/>
                  <a:gd name="T33" fmla="*/ 0 h 597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476" h="597">
                    <a:moveTo>
                      <a:pt x="238" y="0"/>
                    </a:moveTo>
                    <a:cubicBezTo>
                      <a:pt x="319" y="0"/>
                      <a:pt x="379" y="27"/>
                      <a:pt x="419" y="81"/>
                    </a:cubicBezTo>
                    <a:cubicBezTo>
                      <a:pt x="457" y="133"/>
                      <a:pt x="476" y="205"/>
                      <a:pt x="476" y="299"/>
                    </a:cubicBezTo>
                    <a:cubicBezTo>
                      <a:pt x="476" y="391"/>
                      <a:pt x="457" y="464"/>
                      <a:pt x="419" y="516"/>
                    </a:cubicBezTo>
                    <a:cubicBezTo>
                      <a:pt x="380" y="570"/>
                      <a:pt x="320" y="597"/>
                      <a:pt x="239" y="597"/>
                    </a:cubicBezTo>
                    <a:cubicBezTo>
                      <a:pt x="79" y="597"/>
                      <a:pt x="0" y="496"/>
                      <a:pt x="0" y="295"/>
                    </a:cubicBezTo>
                    <a:cubicBezTo>
                      <a:pt x="0" y="204"/>
                      <a:pt x="19" y="133"/>
                      <a:pt x="57" y="81"/>
                    </a:cubicBezTo>
                    <a:cubicBezTo>
                      <a:pt x="96" y="27"/>
                      <a:pt x="157" y="0"/>
                      <a:pt x="238" y="0"/>
                    </a:cubicBezTo>
                    <a:moveTo>
                      <a:pt x="238" y="59"/>
                    </a:moveTo>
                    <a:cubicBezTo>
                      <a:pt x="183" y="59"/>
                      <a:pt x="145" y="83"/>
                      <a:pt x="125" y="132"/>
                    </a:cubicBezTo>
                    <a:cubicBezTo>
                      <a:pt x="107" y="173"/>
                      <a:pt x="99" y="227"/>
                      <a:pt x="99" y="296"/>
                    </a:cubicBezTo>
                    <a:cubicBezTo>
                      <a:pt x="99" y="368"/>
                      <a:pt x="107" y="424"/>
                      <a:pt x="125" y="465"/>
                    </a:cubicBezTo>
                    <a:cubicBezTo>
                      <a:pt x="145" y="514"/>
                      <a:pt x="183" y="539"/>
                      <a:pt x="238" y="539"/>
                    </a:cubicBezTo>
                    <a:cubicBezTo>
                      <a:pt x="293" y="539"/>
                      <a:pt x="330" y="514"/>
                      <a:pt x="351" y="465"/>
                    </a:cubicBezTo>
                    <a:cubicBezTo>
                      <a:pt x="368" y="424"/>
                      <a:pt x="377" y="369"/>
                      <a:pt x="377" y="299"/>
                    </a:cubicBezTo>
                    <a:cubicBezTo>
                      <a:pt x="377" y="227"/>
                      <a:pt x="368" y="172"/>
                      <a:pt x="351" y="132"/>
                    </a:cubicBezTo>
                    <a:cubicBezTo>
                      <a:pt x="330" y="83"/>
                      <a:pt x="292" y="59"/>
                      <a:pt x="238" y="59"/>
                    </a:cubicBezTo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 sz="1600"/>
              </a:p>
            </p:txBody>
          </p:sp>
          <p:sp>
            <p:nvSpPr>
              <p:cNvPr id="19" name="Freeform 84"/>
              <p:cNvSpPr>
                <a:spLocks/>
              </p:cNvSpPr>
              <p:nvPr/>
            </p:nvSpPr>
            <p:spPr bwMode="gray">
              <a:xfrm>
                <a:off x="2625" y="1949"/>
                <a:ext cx="146" cy="116"/>
              </a:xfrm>
              <a:custGeom>
                <a:avLst/>
                <a:gdLst>
                  <a:gd name="T0" fmla="*/ 0 w 730"/>
                  <a:gd name="T1" fmla="*/ 0 h 581"/>
                  <a:gd name="T2" fmla="*/ 0 w 730"/>
                  <a:gd name="T3" fmla="*/ 0 h 581"/>
                  <a:gd name="T4" fmla="*/ 0 w 730"/>
                  <a:gd name="T5" fmla="*/ 0 h 581"/>
                  <a:gd name="T6" fmla="*/ 0 w 730"/>
                  <a:gd name="T7" fmla="*/ 0 h 581"/>
                  <a:gd name="T8" fmla="*/ 0 w 730"/>
                  <a:gd name="T9" fmla="*/ 0 h 581"/>
                  <a:gd name="T10" fmla="*/ 0 w 730"/>
                  <a:gd name="T11" fmla="*/ 0 h 581"/>
                  <a:gd name="T12" fmla="*/ 0 w 730"/>
                  <a:gd name="T13" fmla="*/ 0 h 581"/>
                  <a:gd name="T14" fmla="*/ 0 w 730"/>
                  <a:gd name="T15" fmla="*/ 0 h 581"/>
                  <a:gd name="T16" fmla="*/ 0 w 730"/>
                  <a:gd name="T17" fmla="*/ 0 h 581"/>
                  <a:gd name="T18" fmla="*/ 0 w 730"/>
                  <a:gd name="T19" fmla="*/ 0 h 581"/>
                  <a:gd name="T20" fmla="*/ 0 w 730"/>
                  <a:gd name="T21" fmla="*/ 0 h 581"/>
                  <a:gd name="T22" fmla="*/ 0 w 730"/>
                  <a:gd name="T23" fmla="*/ 0 h 581"/>
                  <a:gd name="T24" fmla="*/ 0 w 730"/>
                  <a:gd name="T25" fmla="*/ 0 h 581"/>
                  <a:gd name="T26" fmla="*/ 0 w 730"/>
                  <a:gd name="T27" fmla="*/ 0 h 581"/>
                  <a:gd name="T28" fmla="*/ 0 w 730"/>
                  <a:gd name="T29" fmla="*/ 0 h 581"/>
                  <a:gd name="T30" fmla="*/ 0 w 730"/>
                  <a:gd name="T31" fmla="*/ 0 h 581"/>
                  <a:gd name="T32" fmla="*/ 0 w 730"/>
                  <a:gd name="T33" fmla="*/ 0 h 581"/>
                  <a:gd name="T34" fmla="*/ 0 w 730"/>
                  <a:gd name="T35" fmla="*/ 0 h 581"/>
                  <a:gd name="T36" fmla="*/ 0 w 730"/>
                  <a:gd name="T37" fmla="*/ 0 h 581"/>
                  <a:gd name="T38" fmla="*/ 0 w 730"/>
                  <a:gd name="T39" fmla="*/ 0 h 581"/>
                  <a:gd name="T40" fmla="*/ 0 w 730"/>
                  <a:gd name="T41" fmla="*/ 0 h 581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730" h="581">
                    <a:moveTo>
                      <a:pt x="0" y="581"/>
                    </a:moveTo>
                    <a:cubicBezTo>
                      <a:pt x="0" y="23"/>
                      <a:pt x="0" y="23"/>
                      <a:pt x="0" y="23"/>
                    </a:cubicBezTo>
                    <a:cubicBezTo>
                      <a:pt x="88" y="8"/>
                      <a:pt x="158" y="0"/>
                      <a:pt x="209" y="0"/>
                    </a:cubicBezTo>
                    <a:cubicBezTo>
                      <a:pt x="276" y="0"/>
                      <a:pt x="326" y="12"/>
                      <a:pt x="360" y="37"/>
                    </a:cubicBezTo>
                    <a:cubicBezTo>
                      <a:pt x="421" y="12"/>
                      <a:pt x="481" y="0"/>
                      <a:pt x="541" y="0"/>
                    </a:cubicBezTo>
                    <a:cubicBezTo>
                      <a:pt x="632" y="0"/>
                      <a:pt x="690" y="30"/>
                      <a:pt x="714" y="90"/>
                    </a:cubicBezTo>
                    <a:cubicBezTo>
                      <a:pt x="725" y="118"/>
                      <a:pt x="730" y="166"/>
                      <a:pt x="730" y="234"/>
                    </a:cubicBezTo>
                    <a:cubicBezTo>
                      <a:pt x="730" y="581"/>
                      <a:pt x="730" y="581"/>
                      <a:pt x="730" y="581"/>
                    </a:cubicBezTo>
                    <a:cubicBezTo>
                      <a:pt x="634" y="581"/>
                      <a:pt x="634" y="581"/>
                      <a:pt x="634" y="581"/>
                    </a:cubicBezTo>
                    <a:cubicBezTo>
                      <a:pt x="634" y="240"/>
                      <a:pt x="634" y="240"/>
                      <a:pt x="634" y="240"/>
                    </a:cubicBezTo>
                    <a:cubicBezTo>
                      <a:pt x="634" y="174"/>
                      <a:pt x="628" y="129"/>
                      <a:pt x="618" y="106"/>
                    </a:cubicBezTo>
                    <a:cubicBezTo>
                      <a:pt x="604" y="75"/>
                      <a:pt x="574" y="59"/>
                      <a:pt x="528" y="59"/>
                    </a:cubicBezTo>
                    <a:cubicBezTo>
                      <a:pt x="491" y="59"/>
                      <a:pt x="452" y="68"/>
                      <a:pt x="413" y="85"/>
                    </a:cubicBezTo>
                    <a:cubicBezTo>
                      <a:pt x="413" y="581"/>
                      <a:pt x="413" y="581"/>
                      <a:pt x="413" y="581"/>
                    </a:cubicBezTo>
                    <a:cubicBezTo>
                      <a:pt x="317" y="581"/>
                      <a:pt x="317" y="581"/>
                      <a:pt x="317" y="581"/>
                    </a:cubicBezTo>
                    <a:cubicBezTo>
                      <a:pt x="317" y="236"/>
                      <a:pt x="317" y="236"/>
                      <a:pt x="317" y="236"/>
                    </a:cubicBezTo>
                    <a:cubicBezTo>
                      <a:pt x="317" y="172"/>
                      <a:pt x="312" y="129"/>
                      <a:pt x="301" y="106"/>
                    </a:cubicBezTo>
                    <a:cubicBezTo>
                      <a:pt x="286" y="75"/>
                      <a:pt x="255" y="59"/>
                      <a:pt x="209" y="59"/>
                    </a:cubicBezTo>
                    <a:cubicBezTo>
                      <a:pt x="173" y="59"/>
                      <a:pt x="135" y="63"/>
                      <a:pt x="96" y="71"/>
                    </a:cubicBezTo>
                    <a:cubicBezTo>
                      <a:pt x="96" y="581"/>
                      <a:pt x="96" y="581"/>
                      <a:pt x="96" y="581"/>
                    </a:cubicBezTo>
                    <a:lnTo>
                      <a:pt x="0" y="58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 sz="1600"/>
              </a:p>
            </p:txBody>
          </p:sp>
          <p:sp>
            <p:nvSpPr>
              <p:cNvPr id="20" name="Freeform 85"/>
              <p:cNvSpPr>
                <a:spLocks noEditPoints="1"/>
              </p:cNvSpPr>
              <p:nvPr/>
            </p:nvSpPr>
            <p:spPr bwMode="gray">
              <a:xfrm>
                <a:off x="2797" y="1949"/>
                <a:ext cx="95" cy="120"/>
              </a:xfrm>
              <a:custGeom>
                <a:avLst/>
                <a:gdLst>
                  <a:gd name="T0" fmla="*/ 0 w 475"/>
                  <a:gd name="T1" fmla="*/ 0 h 597"/>
                  <a:gd name="T2" fmla="*/ 0 w 475"/>
                  <a:gd name="T3" fmla="*/ 0 h 597"/>
                  <a:gd name="T4" fmla="*/ 0 w 475"/>
                  <a:gd name="T5" fmla="*/ 0 h 597"/>
                  <a:gd name="T6" fmla="*/ 0 w 475"/>
                  <a:gd name="T7" fmla="*/ 0 h 597"/>
                  <a:gd name="T8" fmla="*/ 0 w 475"/>
                  <a:gd name="T9" fmla="*/ 0 h 597"/>
                  <a:gd name="T10" fmla="*/ 0 w 475"/>
                  <a:gd name="T11" fmla="*/ 0 h 597"/>
                  <a:gd name="T12" fmla="*/ 0 w 475"/>
                  <a:gd name="T13" fmla="*/ 0 h 597"/>
                  <a:gd name="T14" fmla="*/ 0 w 475"/>
                  <a:gd name="T15" fmla="*/ 0 h 597"/>
                  <a:gd name="T16" fmla="*/ 0 w 475"/>
                  <a:gd name="T17" fmla="*/ 0 h 597"/>
                  <a:gd name="T18" fmla="*/ 0 w 475"/>
                  <a:gd name="T19" fmla="*/ 0 h 597"/>
                  <a:gd name="T20" fmla="*/ 0 w 475"/>
                  <a:gd name="T21" fmla="*/ 0 h 597"/>
                  <a:gd name="T22" fmla="*/ 0 w 475"/>
                  <a:gd name="T23" fmla="*/ 0 h 597"/>
                  <a:gd name="T24" fmla="*/ 0 w 475"/>
                  <a:gd name="T25" fmla="*/ 0 h 597"/>
                  <a:gd name="T26" fmla="*/ 0 w 475"/>
                  <a:gd name="T27" fmla="*/ 0 h 597"/>
                  <a:gd name="T28" fmla="*/ 0 w 475"/>
                  <a:gd name="T29" fmla="*/ 0 h 597"/>
                  <a:gd name="T30" fmla="*/ 0 w 475"/>
                  <a:gd name="T31" fmla="*/ 0 h 597"/>
                  <a:gd name="T32" fmla="*/ 0 w 475"/>
                  <a:gd name="T33" fmla="*/ 0 h 597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475" h="597">
                    <a:moveTo>
                      <a:pt x="238" y="0"/>
                    </a:moveTo>
                    <a:cubicBezTo>
                      <a:pt x="319" y="0"/>
                      <a:pt x="379" y="27"/>
                      <a:pt x="418" y="81"/>
                    </a:cubicBezTo>
                    <a:cubicBezTo>
                      <a:pt x="456" y="133"/>
                      <a:pt x="475" y="205"/>
                      <a:pt x="475" y="299"/>
                    </a:cubicBezTo>
                    <a:cubicBezTo>
                      <a:pt x="475" y="391"/>
                      <a:pt x="456" y="464"/>
                      <a:pt x="418" y="516"/>
                    </a:cubicBezTo>
                    <a:cubicBezTo>
                      <a:pt x="379" y="570"/>
                      <a:pt x="319" y="597"/>
                      <a:pt x="238" y="597"/>
                    </a:cubicBezTo>
                    <a:cubicBezTo>
                      <a:pt x="79" y="597"/>
                      <a:pt x="0" y="496"/>
                      <a:pt x="0" y="295"/>
                    </a:cubicBezTo>
                    <a:cubicBezTo>
                      <a:pt x="0" y="204"/>
                      <a:pt x="19" y="133"/>
                      <a:pt x="57" y="81"/>
                    </a:cubicBezTo>
                    <a:cubicBezTo>
                      <a:pt x="96" y="27"/>
                      <a:pt x="156" y="0"/>
                      <a:pt x="238" y="0"/>
                    </a:cubicBezTo>
                    <a:moveTo>
                      <a:pt x="238" y="59"/>
                    </a:moveTo>
                    <a:cubicBezTo>
                      <a:pt x="183" y="59"/>
                      <a:pt x="145" y="83"/>
                      <a:pt x="124" y="132"/>
                    </a:cubicBezTo>
                    <a:cubicBezTo>
                      <a:pt x="107" y="173"/>
                      <a:pt x="98" y="227"/>
                      <a:pt x="98" y="296"/>
                    </a:cubicBezTo>
                    <a:cubicBezTo>
                      <a:pt x="98" y="368"/>
                      <a:pt x="107" y="424"/>
                      <a:pt x="124" y="465"/>
                    </a:cubicBezTo>
                    <a:cubicBezTo>
                      <a:pt x="145" y="514"/>
                      <a:pt x="183" y="539"/>
                      <a:pt x="238" y="539"/>
                    </a:cubicBezTo>
                    <a:cubicBezTo>
                      <a:pt x="292" y="539"/>
                      <a:pt x="330" y="514"/>
                      <a:pt x="350" y="465"/>
                    </a:cubicBezTo>
                    <a:cubicBezTo>
                      <a:pt x="368" y="424"/>
                      <a:pt x="376" y="369"/>
                      <a:pt x="376" y="299"/>
                    </a:cubicBezTo>
                    <a:cubicBezTo>
                      <a:pt x="376" y="227"/>
                      <a:pt x="368" y="172"/>
                      <a:pt x="350" y="132"/>
                    </a:cubicBezTo>
                    <a:cubicBezTo>
                      <a:pt x="329" y="83"/>
                      <a:pt x="292" y="59"/>
                      <a:pt x="238" y="59"/>
                    </a:cubicBezTo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 sz="1600"/>
              </a:p>
            </p:txBody>
          </p:sp>
          <p:sp>
            <p:nvSpPr>
              <p:cNvPr id="21" name="Freeform 86"/>
              <p:cNvSpPr>
                <a:spLocks/>
              </p:cNvSpPr>
              <p:nvPr/>
            </p:nvSpPr>
            <p:spPr bwMode="gray">
              <a:xfrm>
                <a:off x="2922" y="1949"/>
                <a:ext cx="49" cy="116"/>
              </a:xfrm>
              <a:custGeom>
                <a:avLst/>
                <a:gdLst>
                  <a:gd name="T0" fmla="*/ 0 w 244"/>
                  <a:gd name="T1" fmla="*/ 0 h 581"/>
                  <a:gd name="T2" fmla="*/ 0 w 244"/>
                  <a:gd name="T3" fmla="*/ 0 h 581"/>
                  <a:gd name="T4" fmla="*/ 0 w 244"/>
                  <a:gd name="T5" fmla="*/ 0 h 581"/>
                  <a:gd name="T6" fmla="*/ 0 w 244"/>
                  <a:gd name="T7" fmla="*/ 0 h 581"/>
                  <a:gd name="T8" fmla="*/ 0 w 244"/>
                  <a:gd name="T9" fmla="*/ 0 h 581"/>
                  <a:gd name="T10" fmla="*/ 0 w 244"/>
                  <a:gd name="T11" fmla="*/ 0 h 581"/>
                  <a:gd name="T12" fmla="*/ 0 w 244"/>
                  <a:gd name="T13" fmla="*/ 0 h 581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44" h="581">
                    <a:moveTo>
                      <a:pt x="0" y="581"/>
                    </a:moveTo>
                    <a:cubicBezTo>
                      <a:pt x="0" y="25"/>
                      <a:pt x="0" y="25"/>
                      <a:pt x="0" y="25"/>
                    </a:cubicBezTo>
                    <a:cubicBezTo>
                      <a:pt x="74" y="9"/>
                      <a:pt x="155" y="1"/>
                      <a:pt x="244" y="0"/>
                    </a:cubicBezTo>
                    <a:cubicBezTo>
                      <a:pt x="244" y="61"/>
                      <a:pt x="244" y="61"/>
                      <a:pt x="244" y="61"/>
                    </a:cubicBezTo>
                    <a:cubicBezTo>
                      <a:pt x="190" y="61"/>
                      <a:pt x="141" y="65"/>
                      <a:pt x="97" y="71"/>
                    </a:cubicBezTo>
                    <a:cubicBezTo>
                      <a:pt x="97" y="581"/>
                      <a:pt x="97" y="581"/>
                      <a:pt x="97" y="581"/>
                    </a:cubicBezTo>
                    <a:lnTo>
                      <a:pt x="0" y="58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 sz="1600"/>
              </a:p>
            </p:txBody>
          </p:sp>
          <p:sp>
            <p:nvSpPr>
              <p:cNvPr id="22" name="Freeform 87"/>
              <p:cNvSpPr>
                <a:spLocks/>
              </p:cNvSpPr>
              <p:nvPr/>
            </p:nvSpPr>
            <p:spPr bwMode="gray">
              <a:xfrm>
                <a:off x="2992" y="1949"/>
                <a:ext cx="49" cy="116"/>
              </a:xfrm>
              <a:custGeom>
                <a:avLst/>
                <a:gdLst>
                  <a:gd name="T0" fmla="*/ 0 w 244"/>
                  <a:gd name="T1" fmla="*/ 0 h 581"/>
                  <a:gd name="T2" fmla="*/ 0 w 244"/>
                  <a:gd name="T3" fmla="*/ 0 h 581"/>
                  <a:gd name="T4" fmla="*/ 0 w 244"/>
                  <a:gd name="T5" fmla="*/ 0 h 581"/>
                  <a:gd name="T6" fmla="*/ 0 w 244"/>
                  <a:gd name="T7" fmla="*/ 0 h 581"/>
                  <a:gd name="T8" fmla="*/ 0 w 244"/>
                  <a:gd name="T9" fmla="*/ 0 h 581"/>
                  <a:gd name="T10" fmla="*/ 0 w 244"/>
                  <a:gd name="T11" fmla="*/ 0 h 581"/>
                  <a:gd name="T12" fmla="*/ 0 w 244"/>
                  <a:gd name="T13" fmla="*/ 0 h 581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44" h="581">
                    <a:moveTo>
                      <a:pt x="0" y="581"/>
                    </a:moveTo>
                    <a:cubicBezTo>
                      <a:pt x="0" y="25"/>
                      <a:pt x="0" y="25"/>
                      <a:pt x="0" y="25"/>
                    </a:cubicBezTo>
                    <a:cubicBezTo>
                      <a:pt x="74" y="9"/>
                      <a:pt x="155" y="1"/>
                      <a:pt x="244" y="0"/>
                    </a:cubicBezTo>
                    <a:cubicBezTo>
                      <a:pt x="244" y="61"/>
                      <a:pt x="244" y="61"/>
                      <a:pt x="244" y="61"/>
                    </a:cubicBezTo>
                    <a:cubicBezTo>
                      <a:pt x="190" y="61"/>
                      <a:pt x="140" y="65"/>
                      <a:pt x="97" y="71"/>
                    </a:cubicBezTo>
                    <a:cubicBezTo>
                      <a:pt x="97" y="581"/>
                      <a:pt x="97" y="581"/>
                      <a:pt x="97" y="581"/>
                    </a:cubicBezTo>
                    <a:lnTo>
                      <a:pt x="0" y="58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 sz="1600"/>
              </a:p>
            </p:txBody>
          </p:sp>
          <p:sp>
            <p:nvSpPr>
              <p:cNvPr id="23" name="Freeform 88"/>
              <p:cNvSpPr>
                <a:spLocks noEditPoints="1"/>
              </p:cNvSpPr>
              <p:nvPr/>
            </p:nvSpPr>
            <p:spPr bwMode="gray">
              <a:xfrm>
                <a:off x="3054" y="1949"/>
                <a:ext cx="95" cy="120"/>
              </a:xfrm>
              <a:custGeom>
                <a:avLst/>
                <a:gdLst>
                  <a:gd name="T0" fmla="*/ 0 w 476"/>
                  <a:gd name="T1" fmla="*/ 0 h 597"/>
                  <a:gd name="T2" fmla="*/ 0 w 476"/>
                  <a:gd name="T3" fmla="*/ 0 h 597"/>
                  <a:gd name="T4" fmla="*/ 0 w 476"/>
                  <a:gd name="T5" fmla="*/ 0 h 597"/>
                  <a:gd name="T6" fmla="*/ 0 w 476"/>
                  <a:gd name="T7" fmla="*/ 0 h 597"/>
                  <a:gd name="T8" fmla="*/ 0 w 476"/>
                  <a:gd name="T9" fmla="*/ 0 h 597"/>
                  <a:gd name="T10" fmla="*/ 0 w 476"/>
                  <a:gd name="T11" fmla="*/ 0 h 597"/>
                  <a:gd name="T12" fmla="*/ 0 w 476"/>
                  <a:gd name="T13" fmla="*/ 0 h 597"/>
                  <a:gd name="T14" fmla="*/ 0 w 476"/>
                  <a:gd name="T15" fmla="*/ 0 h 597"/>
                  <a:gd name="T16" fmla="*/ 0 w 476"/>
                  <a:gd name="T17" fmla="*/ 0 h 597"/>
                  <a:gd name="T18" fmla="*/ 0 w 476"/>
                  <a:gd name="T19" fmla="*/ 0 h 597"/>
                  <a:gd name="T20" fmla="*/ 0 w 476"/>
                  <a:gd name="T21" fmla="*/ 0 h 597"/>
                  <a:gd name="T22" fmla="*/ 0 w 476"/>
                  <a:gd name="T23" fmla="*/ 0 h 597"/>
                  <a:gd name="T24" fmla="*/ 0 w 476"/>
                  <a:gd name="T25" fmla="*/ 0 h 597"/>
                  <a:gd name="T26" fmla="*/ 0 w 476"/>
                  <a:gd name="T27" fmla="*/ 0 h 597"/>
                  <a:gd name="T28" fmla="*/ 0 w 476"/>
                  <a:gd name="T29" fmla="*/ 0 h 597"/>
                  <a:gd name="T30" fmla="*/ 0 w 476"/>
                  <a:gd name="T31" fmla="*/ 0 h 597"/>
                  <a:gd name="T32" fmla="*/ 0 w 476"/>
                  <a:gd name="T33" fmla="*/ 0 h 597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476" h="597">
                    <a:moveTo>
                      <a:pt x="238" y="0"/>
                    </a:moveTo>
                    <a:cubicBezTo>
                      <a:pt x="319" y="0"/>
                      <a:pt x="379" y="27"/>
                      <a:pt x="419" y="81"/>
                    </a:cubicBezTo>
                    <a:cubicBezTo>
                      <a:pt x="457" y="133"/>
                      <a:pt x="476" y="205"/>
                      <a:pt x="476" y="299"/>
                    </a:cubicBezTo>
                    <a:cubicBezTo>
                      <a:pt x="476" y="391"/>
                      <a:pt x="457" y="464"/>
                      <a:pt x="419" y="516"/>
                    </a:cubicBezTo>
                    <a:cubicBezTo>
                      <a:pt x="380" y="570"/>
                      <a:pt x="320" y="597"/>
                      <a:pt x="239" y="597"/>
                    </a:cubicBezTo>
                    <a:cubicBezTo>
                      <a:pt x="80" y="597"/>
                      <a:pt x="0" y="496"/>
                      <a:pt x="0" y="295"/>
                    </a:cubicBezTo>
                    <a:cubicBezTo>
                      <a:pt x="0" y="204"/>
                      <a:pt x="19" y="133"/>
                      <a:pt x="57" y="81"/>
                    </a:cubicBezTo>
                    <a:cubicBezTo>
                      <a:pt x="97" y="27"/>
                      <a:pt x="157" y="0"/>
                      <a:pt x="238" y="0"/>
                    </a:cubicBezTo>
                    <a:moveTo>
                      <a:pt x="238" y="59"/>
                    </a:moveTo>
                    <a:cubicBezTo>
                      <a:pt x="184" y="59"/>
                      <a:pt x="146" y="83"/>
                      <a:pt x="125" y="132"/>
                    </a:cubicBezTo>
                    <a:cubicBezTo>
                      <a:pt x="108" y="173"/>
                      <a:pt x="99" y="227"/>
                      <a:pt x="99" y="296"/>
                    </a:cubicBezTo>
                    <a:cubicBezTo>
                      <a:pt x="99" y="368"/>
                      <a:pt x="108" y="424"/>
                      <a:pt x="125" y="465"/>
                    </a:cubicBezTo>
                    <a:cubicBezTo>
                      <a:pt x="146" y="514"/>
                      <a:pt x="184" y="539"/>
                      <a:pt x="238" y="539"/>
                    </a:cubicBezTo>
                    <a:cubicBezTo>
                      <a:pt x="293" y="539"/>
                      <a:pt x="331" y="514"/>
                      <a:pt x="351" y="465"/>
                    </a:cubicBezTo>
                    <a:cubicBezTo>
                      <a:pt x="368" y="424"/>
                      <a:pt x="377" y="369"/>
                      <a:pt x="377" y="299"/>
                    </a:cubicBezTo>
                    <a:cubicBezTo>
                      <a:pt x="377" y="227"/>
                      <a:pt x="368" y="172"/>
                      <a:pt x="351" y="132"/>
                    </a:cubicBezTo>
                    <a:cubicBezTo>
                      <a:pt x="330" y="83"/>
                      <a:pt x="293" y="59"/>
                      <a:pt x="238" y="59"/>
                    </a:cubicBezTo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 sz="1600"/>
              </a:p>
            </p:txBody>
          </p:sp>
          <p:sp>
            <p:nvSpPr>
              <p:cNvPr id="24" name="Freeform 89"/>
              <p:cNvSpPr>
                <a:spLocks/>
              </p:cNvSpPr>
              <p:nvPr/>
            </p:nvSpPr>
            <p:spPr bwMode="gray">
              <a:xfrm>
                <a:off x="3162" y="1952"/>
                <a:ext cx="145" cy="113"/>
              </a:xfrm>
              <a:custGeom>
                <a:avLst/>
                <a:gdLst>
                  <a:gd name="T0" fmla="*/ 0 w 728"/>
                  <a:gd name="T1" fmla="*/ 0 h 565"/>
                  <a:gd name="T2" fmla="*/ 0 w 728"/>
                  <a:gd name="T3" fmla="*/ 0 h 565"/>
                  <a:gd name="T4" fmla="*/ 0 w 728"/>
                  <a:gd name="T5" fmla="*/ 0 h 565"/>
                  <a:gd name="T6" fmla="*/ 0 w 728"/>
                  <a:gd name="T7" fmla="*/ 0 h 565"/>
                  <a:gd name="T8" fmla="*/ 0 w 728"/>
                  <a:gd name="T9" fmla="*/ 0 h 565"/>
                  <a:gd name="T10" fmla="*/ 0 w 728"/>
                  <a:gd name="T11" fmla="*/ 0 h 565"/>
                  <a:gd name="T12" fmla="*/ 0 w 728"/>
                  <a:gd name="T13" fmla="*/ 0 h 565"/>
                  <a:gd name="T14" fmla="*/ 0 w 728"/>
                  <a:gd name="T15" fmla="*/ 0 h 565"/>
                  <a:gd name="T16" fmla="*/ 0 w 728"/>
                  <a:gd name="T17" fmla="*/ 0 h 565"/>
                  <a:gd name="T18" fmla="*/ 0 w 728"/>
                  <a:gd name="T19" fmla="*/ 0 h 565"/>
                  <a:gd name="T20" fmla="*/ 0 w 728"/>
                  <a:gd name="T21" fmla="*/ 0 h 565"/>
                  <a:gd name="T22" fmla="*/ 0 w 728"/>
                  <a:gd name="T23" fmla="*/ 0 h 565"/>
                  <a:gd name="T24" fmla="*/ 0 w 728"/>
                  <a:gd name="T25" fmla="*/ 0 h 565"/>
                  <a:gd name="T26" fmla="*/ 0 w 728"/>
                  <a:gd name="T27" fmla="*/ 0 h 565"/>
                  <a:gd name="T28" fmla="*/ 0 w 728"/>
                  <a:gd name="T29" fmla="*/ 0 h 565"/>
                  <a:gd name="T30" fmla="*/ 0 w 728"/>
                  <a:gd name="T31" fmla="*/ 0 h 565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728" h="565">
                    <a:moveTo>
                      <a:pt x="159" y="565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97" y="0"/>
                      <a:pt x="97" y="0"/>
                      <a:pt x="97" y="0"/>
                    </a:cubicBezTo>
                    <a:cubicBezTo>
                      <a:pt x="217" y="461"/>
                      <a:pt x="217" y="461"/>
                      <a:pt x="217" y="461"/>
                    </a:cubicBezTo>
                    <a:cubicBezTo>
                      <a:pt x="323" y="0"/>
                      <a:pt x="323" y="0"/>
                      <a:pt x="323" y="0"/>
                    </a:cubicBezTo>
                    <a:cubicBezTo>
                      <a:pt x="418" y="0"/>
                      <a:pt x="418" y="0"/>
                      <a:pt x="418" y="0"/>
                    </a:cubicBezTo>
                    <a:cubicBezTo>
                      <a:pt x="529" y="461"/>
                      <a:pt x="529" y="461"/>
                      <a:pt x="529" y="461"/>
                    </a:cubicBezTo>
                    <a:cubicBezTo>
                      <a:pt x="649" y="0"/>
                      <a:pt x="649" y="0"/>
                      <a:pt x="649" y="0"/>
                    </a:cubicBezTo>
                    <a:cubicBezTo>
                      <a:pt x="728" y="0"/>
                      <a:pt x="728" y="0"/>
                      <a:pt x="728" y="0"/>
                    </a:cubicBezTo>
                    <a:cubicBezTo>
                      <a:pt x="568" y="565"/>
                      <a:pt x="568" y="565"/>
                      <a:pt x="568" y="565"/>
                    </a:cubicBezTo>
                    <a:cubicBezTo>
                      <a:pt x="472" y="565"/>
                      <a:pt x="472" y="565"/>
                      <a:pt x="472" y="565"/>
                    </a:cubicBezTo>
                    <a:cubicBezTo>
                      <a:pt x="388" y="199"/>
                      <a:pt x="388" y="199"/>
                      <a:pt x="388" y="199"/>
                    </a:cubicBezTo>
                    <a:cubicBezTo>
                      <a:pt x="381" y="173"/>
                      <a:pt x="374" y="135"/>
                      <a:pt x="366" y="84"/>
                    </a:cubicBezTo>
                    <a:cubicBezTo>
                      <a:pt x="360" y="125"/>
                      <a:pt x="353" y="163"/>
                      <a:pt x="345" y="199"/>
                    </a:cubicBezTo>
                    <a:cubicBezTo>
                      <a:pt x="260" y="565"/>
                      <a:pt x="260" y="565"/>
                      <a:pt x="260" y="565"/>
                    </a:cubicBezTo>
                    <a:lnTo>
                      <a:pt x="159" y="56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 sz="1600"/>
              </a:p>
            </p:txBody>
          </p:sp>
          <p:sp>
            <p:nvSpPr>
              <p:cNvPr id="25" name="Freeform 90"/>
              <p:cNvSpPr>
                <a:spLocks/>
              </p:cNvSpPr>
              <p:nvPr/>
            </p:nvSpPr>
            <p:spPr bwMode="gray">
              <a:xfrm>
                <a:off x="3365" y="1952"/>
                <a:ext cx="146" cy="113"/>
              </a:xfrm>
              <a:custGeom>
                <a:avLst/>
                <a:gdLst>
                  <a:gd name="T0" fmla="*/ 0 w 728"/>
                  <a:gd name="T1" fmla="*/ 0 h 565"/>
                  <a:gd name="T2" fmla="*/ 0 w 728"/>
                  <a:gd name="T3" fmla="*/ 0 h 565"/>
                  <a:gd name="T4" fmla="*/ 0 w 728"/>
                  <a:gd name="T5" fmla="*/ 0 h 565"/>
                  <a:gd name="T6" fmla="*/ 0 w 728"/>
                  <a:gd name="T7" fmla="*/ 0 h 565"/>
                  <a:gd name="T8" fmla="*/ 0 w 728"/>
                  <a:gd name="T9" fmla="*/ 0 h 565"/>
                  <a:gd name="T10" fmla="*/ 0 w 728"/>
                  <a:gd name="T11" fmla="*/ 0 h 565"/>
                  <a:gd name="T12" fmla="*/ 0 w 728"/>
                  <a:gd name="T13" fmla="*/ 0 h 565"/>
                  <a:gd name="T14" fmla="*/ 0 w 728"/>
                  <a:gd name="T15" fmla="*/ 0 h 565"/>
                  <a:gd name="T16" fmla="*/ 0 w 728"/>
                  <a:gd name="T17" fmla="*/ 0 h 565"/>
                  <a:gd name="T18" fmla="*/ 0 w 728"/>
                  <a:gd name="T19" fmla="*/ 0 h 565"/>
                  <a:gd name="T20" fmla="*/ 0 w 728"/>
                  <a:gd name="T21" fmla="*/ 0 h 565"/>
                  <a:gd name="T22" fmla="*/ 0 w 728"/>
                  <a:gd name="T23" fmla="*/ 0 h 565"/>
                  <a:gd name="T24" fmla="*/ 0 w 728"/>
                  <a:gd name="T25" fmla="*/ 0 h 565"/>
                  <a:gd name="T26" fmla="*/ 0 w 728"/>
                  <a:gd name="T27" fmla="*/ 0 h 565"/>
                  <a:gd name="T28" fmla="*/ 0 w 728"/>
                  <a:gd name="T29" fmla="*/ 0 h 565"/>
                  <a:gd name="T30" fmla="*/ 0 w 728"/>
                  <a:gd name="T31" fmla="*/ 0 h 565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728" h="565">
                    <a:moveTo>
                      <a:pt x="160" y="565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98" y="0"/>
                      <a:pt x="98" y="0"/>
                      <a:pt x="98" y="0"/>
                    </a:cubicBezTo>
                    <a:cubicBezTo>
                      <a:pt x="217" y="461"/>
                      <a:pt x="217" y="461"/>
                      <a:pt x="217" y="461"/>
                    </a:cubicBezTo>
                    <a:cubicBezTo>
                      <a:pt x="323" y="0"/>
                      <a:pt x="323" y="0"/>
                      <a:pt x="323" y="0"/>
                    </a:cubicBezTo>
                    <a:cubicBezTo>
                      <a:pt x="419" y="0"/>
                      <a:pt x="419" y="0"/>
                      <a:pt x="419" y="0"/>
                    </a:cubicBezTo>
                    <a:cubicBezTo>
                      <a:pt x="530" y="461"/>
                      <a:pt x="530" y="461"/>
                      <a:pt x="530" y="461"/>
                    </a:cubicBezTo>
                    <a:cubicBezTo>
                      <a:pt x="650" y="0"/>
                      <a:pt x="650" y="0"/>
                      <a:pt x="650" y="0"/>
                    </a:cubicBezTo>
                    <a:cubicBezTo>
                      <a:pt x="728" y="0"/>
                      <a:pt x="728" y="0"/>
                      <a:pt x="728" y="0"/>
                    </a:cubicBezTo>
                    <a:cubicBezTo>
                      <a:pt x="569" y="565"/>
                      <a:pt x="569" y="565"/>
                      <a:pt x="569" y="565"/>
                    </a:cubicBezTo>
                    <a:cubicBezTo>
                      <a:pt x="473" y="565"/>
                      <a:pt x="473" y="565"/>
                      <a:pt x="473" y="565"/>
                    </a:cubicBezTo>
                    <a:cubicBezTo>
                      <a:pt x="388" y="199"/>
                      <a:pt x="388" y="199"/>
                      <a:pt x="388" y="199"/>
                    </a:cubicBezTo>
                    <a:cubicBezTo>
                      <a:pt x="382" y="173"/>
                      <a:pt x="375" y="135"/>
                      <a:pt x="367" y="84"/>
                    </a:cubicBezTo>
                    <a:cubicBezTo>
                      <a:pt x="361" y="125"/>
                      <a:pt x="354" y="163"/>
                      <a:pt x="345" y="199"/>
                    </a:cubicBezTo>
                    <a:cubicBezTo>
                      <a:pt x="261" y="565"/>
                      <a:pt x="261" y="565"/>
                      <a:pt x="261" y="565"/>
                    </a:cubicBezTo>
                    <a:lnTo>
                      <a:pt x="160" y="56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 sz="1600"/>
              </a:p>
            </p:txBody>
          </p:sp>
          <p:sp>
            <p:nvSpPr>
              <p:cNvPr id="26" name="Freeform 91"/>
              <p:cNvSpPr>
                <a:spLocks noEditPoints="1"/>
              </p:cNvSpPr>
              <p:nvPr/>
            </p:nvSpPr>
            <p:spPr bwMode="gray">
              <a:xfrm>
                <a:off x="3530" y="1911"/>
                <a:ext cx="24" cy="154"/>
              </a:xfrm>
              <a:custGeom>
                <a:avLst/>
                <a:gdLst>
                  <a:gd name="T0" fmla="*/ 0 w 118"/>
                  <a:gd name="T1" fmla="*/ 0 h 772"/>
                  <a:gd name="T2" fmla="*/ 0 w 118"/>
                  <a:gd name="T3" fmla="*/ 0 h 772"/>
                  <a:gd name="T4" fmla="*/ 0 w 118"/>
                  <a:gd name="T5" fmla="*/ 0 h 772"/>
                  <a:gd name="T6" fmla="*/ 0 w 118"/>
                  <a:gd name="T7" fmla="*/ 0 h 772"/>
                  <a:gd name="T8" fmla="*/ 0 w 118"/>
                  <a:gd name="T9" fmla="*/ 0 h 772"/>
                  <a:gd name="T10" fmla="*/ 0 w 118"/>
                  <a:gd name="T11" fmla="*/ 0 h 772"/>
                  <a:gd name="T12" fmla="*/ 0 w 118"/>
                  <a:gd name="T13" fmla="*/ 0 h 772"/>
                  <a:gd name="T14" fmla="*/ 0 w 118"/>
                  <a:gd name="T15" fmla="*/ 0 h 772"/>
                  <a:gd name="T16" fmla="*/ 0 w 118"/>
                  <a:gd name="T17" fmla="*/ 0 h 772"/>
                  <a:gd name="T18" fmla="*/ 0 w 118"/>
                  <a:gd name="T19" fmla="*/ 0 h 772"/>
                  <a:gd name="T20" fmla="*/ 0 w 118"/>
                  <a:gd name="T21" fmla="*/ 0 h 772"/>
                  <a:gd name="T22" fmla="*/ 0 w 118"/>
                  <a:gd name="T23" fmla="*/ 0 h 772"/>
                  <a:gd name="T24" fmla="*/ 0 w 118"/>
                  <a:gd name="T25" fmla="*/ 0 h 772"/>
                  <a:gd name="T26" fmla="*/ 0 w 118"/>
                  <a:gd name="T27" fmla="*/ 0 h 772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118" h="772">
                    <a:moveTo>
                      <a:pt x="59" y="0"/>
                    </a:moveTo>
                    <a:cubicBezTo>
                      <a:pt x="77" y="0"/>
                      <a:pt x="91" y="6"/>
                      <a:pt x="103" y="19"/>
                    </a:cubicBezTo>
                    <a:cubicBezTo>
                      <a:pt x="113" y="31"/>
                      <a:pt x="118" y="44"/>
                      <a:pt x="118" y="59"/>
                    </a:cubicBezTo>
                    <a:cubicBezTo>
                      <a:pt x="118" y="77"/>
                      <a:pt x="112" y="91"/>
                      <a:pt x="99" y="103"/>
                    </a:cubicBezTo>
                    <a:cubicBezTo>
                      <a:pt x="88" y="113"/>
                      <a:pt x="74" y="118"/>
                      <a:pt x="59" y="118"/>
                    </a:cubicBezTo>
                    <a:cubicBezTo>
                      <a:pt x="41" y="118"/>
                      <a:pt x="27" y="112"/>
                      <a:pt x="15" y="99"/>
                    </a:cubicBezTo>
                    <a:cubicBezTo>
                      <a:pt x="5" y="88"/>
                      <a:pt x="0" y="74"/>
                      <a:pt x="0" y="58"/>
                    </a:cubicBezTo>
                    <a:cubicBezTo>
                      <a:pt x="0" y="41"/>
                      <a:pt x="7" y="27"/>
                      <a:pt x="20" y="15"/>
                    </a:cubicBezTo>
                    <a:cubicBezTo>
                      <a:pt x="31" y="5"/>
                      <a:pt x="44" y="0"/>
                      <a:pt x="59" y="0"/>
                    </a:cubicBezTo>
                    <a:moveTo>
                      <a:pt x="12" y="207"/>
                    </a:moveTo>
                    <a:cubicBezTo>
                      <a:pt x="109" y="207"/>
                      <a:pt x="109" y="207"/>
                      <a:pt x="109" y="207"/>
                    </a:cubicBezTo>
                    <a:cubicBezTo>
                      <a:pt x="109" y="772"/>
                      <a:pt x="109" y="772"/>
                      <a:pt x="109" y="772"/>
                    </a:cubicBezTo>
                    <a:cubicBezTo>
                      <a:pt x="12" y="772"/>
                      <a:pt x="12" y="772"/>
                      <a:pt x="12" y="772"/>
                    </a:cubicBezTo>
                    <a:lnTo>
                      <a:pt x="12" y="20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 sz="1600"/>
              </a:p>
            </p:txBody>
          </p:sp>
          <p:sp>
            <p:nvSpPr>
              <p:cNvPr id="27" name="Freeform 92"/>
              <p:cNvSpPr>
                <a:spLocks/>
              </p:cNvSpPr>
              <p:nvPr/>
            </p:nvSpPr>
            <p:spPr bwMode="gray">
              <a:xfrm>
                <a:off x="3587" y="1922"/>
                <a:ext cx="50" cy="143"/>
              </a:xfrm>
              <a:custGeom>
                <a:avLst/>
                <a:gdLst>
                  <a:gd name="T0" fmla="*/ 0 w 248"/>
                  <a:gd name="T1" fmla="*/ 0 h 718"/>
                  <a:gd name="T2" fmla="*/ 0 w 248"/>
                  <a:gd name="T3" fmla="*/ 0 h 718"/>
                  <a:gd name="T4" fmla="*/ 0 w 248"/>
                  <a:gd name="T5" fmla="*/ 0 h 718"/>
                  <a:gd name="T6" fmla="*/ 0 w 248"/>
                  <a:gd name="T7" fmla="*/ 0 h 718"/>
                  <a:gd name="T8" fmla="*/ 0 w 248"/>
                  <a:gd name="T9" fmla="*/ 0 h 718"/>
                  <a:gd name="T10" fmla="*/ 0 w 248"/>
                  <a:gd name="T11" fmla="*/ 0 h 718"/>
                  <a:gd name="T12" fmla="*/ 0 w 248"/>
                  <a:gd name="T13" fmla="*/ 0 h 718"/>
                  <a:gd name="T14" fmla="*/ 0 w 248"/>
                  <a:gd name="T15" fmla="*/ 0 h 718"/>
                  <a:gd name="T16" fmla="*/ 0 w 248"/>
                  <a:gd name="T17" fmla="*/ 0 h 718"/>
                  <a:gd name="T18" fmla="*/ 0 w 248"/>
                  <a:gd name="T19" fmla="*/ 0 h 718"/>
                  <a:gd name="T20" fmla="*/ 0 w 248"/>
                  <a:gd name="T21" fmla="*/ 0 h 718"/>
                  <a:gd name="T22" fmla="*/ 0 w 248"/>
                  <a:gd name="T23" fmla="*/ 0 h 718"/>
                  <a:gd name="T24" fmla="*/ 0 w 248"/>
                  <a:gd name="T25" fmla="*/ 0 h 718"/>
                  <a:gd name="T26" fmla="*/ 0 w 248"/>
                  <a:gd name="T27" fmla="*/ 0 h 718"/>
                  <a:gd name="T28" fmla="*/ 0 w 248"/>
                  <a:gd name="T29" fmla="*/ 0 h 718"/>
                  <a:gd name="T30" fmla="*/ 0 w 248"/>
                  <a:gd name="T31" fmla="*/ 0 h 718"/>
                  <a:gd name="T32" fmla="*/ 0 w 248"/>
                  <a:gd name="T33" fmla="*/ 0 h 71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248" h="718">
                    <a:moveTo>
                      <a:pt x="0" y="0"/>
                    </a:moveTo>
                    <a:cubicBezTo>
                      <a:pt x="96" y="0"/>
                      <a:pt x="96" y="0"/>
                      <a:pt x="96" y="0"/>
                    </a:cubicBezTo>
                    <a:cubicBezTo>
                      <a:pt x="96" y="153"/>
                      <a:pt x="96" y="153"/>
                      <a:pt x="96" y="153"/>
                    </a:cubicBezTo>
                    <a:cubicBezTo>
                      <a:pt x="248" y="153"/>
                      <a:pt x="248" y="153"/>
                      <a:pt x="248" y="153"/>
                    </a:cubicBezTo>
                    <a:cubicBezTo>
                      <a:pt x="248" y="215"/>
                      <a:pt x="248" y="215"/>
                      <a:pt x="248" y="215"/>
                    </a:cubicBezTo>
                    <a:cubicBezTo>
                      <a:pt x="96" y="215"/>
                      <a:pt x="96" y="215"/>
                      <a:pt x="96" y="215"/>
                    </a:cubicBezTo>
                    <a:cubicBezTo>
                      <a:pt x="96" y="515"/>
                      <a:pt x="96" y="515"/>
                      <a:pt x="96" y="515"/>
                    </a:cubicBezTo>
                    <a:cubicBezTo>
                      <a:pt x="96" y="572"/>
                      <a:pt x="105" y="610"/>
                      <a:pt x="122" y="630"/>
                    </a:cubicBezTo>
                    <a:cubicBezTo>
                      <a:pt x="134" y="644"/>
                      <a:pt x="151" y="652"/>
                      <a:pt x="175" y="655"/>
                    </a:cubicBezTo>
                    <a:cubicBezTo>
                      <a:pt x="183" y="656"/>
                      <a:pt x="197" y="657"/>
                      <a:pt x="217" y="657"/>
                    </a:cubicBezTo>
                    <a:cubicBezTo>
                      <a:pt x="248" y="657"/>
                      <a:pt x="248" y="657"/>
                      <a:pt x="248" y="657"/>
                    </a:cubicBezTo>
                    <a:cubicBezTo>
                      <a:pt x="248" y="718"/>
                      <a:pt x="248" y="718"/>
                      <a:pt x="248" y="718"/>
                    </a:cubicBezTo>
                    <a:cubicBezTo>
                      <a:pt x="196" y="718"/>
                      <a:pt x="196" y="718"/>
                      <a:pt x="196" y="718"/>
                    </a:cubicBezTo>
                    <a:cubicBezTo>
                      <a:pt x="155" y="718"/>
                      <a:pt x="122" y="715"/>
                      <a:pt x="99" y="709"/>
                    </a:cubicBezTo>
                    <a:cubicBezTo>
                      <a:pt x="49" y="695"/>
                      <a:pt x="19" y="663"/>
                      <a:pt x="8" y="613"/>
                    </a:cubicBezTo>
                    <a:cubicBezTo>
                      <a:pt x="3" y="586"/>
                      <a:pt x="0" y="549"/>
                      <a:pt x="0" y="501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 sz="1600"/>
              </a:p>
            </p:txBody>
          </p:sp>
          <p:sp>
            <p:nvSpPr>
              <p:cNvPr id="28" name="Freeform 93"/>
              <p:cNvSpPr>
                <a:spLocks/>
              </p:cNvSpPr>
              <p:nvPr/>
            </p:nvSpPr>
            <p:spPr bwMode="gray">
              <a:xfrm>
                <a:off x="3660" y="1895"/>
                <a:ext cx="86" cy="170"/>
              </a:xfrm>
              <a:custGeom>
                <a:avLst/>
                <a:gdLst>
                  <a:gd name="T0" fmla="*/ 0 w 429"/>
                  <a:gd name="T1" fmla="*/ 0 h 851"/>
                  <a:gd name="T2" fmla="*/ 0 w 429"/>
                  <a:gd name="T3" fmla="*/ 0 h 851"/>
                  <a:gd name="T4" fmla="*/ 0 w 429"/>
                  <a:gd name="T5" fmla="*/ 0 h 851"/>
                  <a:gd name="T6" fmla="*/ 0 w 429"/>
                  <a:gd name="T7" fmla="*/ 0 h 851"/>
                  <a:gd name="T8" fmla="*/ 0 w 429"/>
                  <a:gd name="T9" fmla="*/ 0 h 851"/>
                  <a:gd name="T10" fmla="*/ 0 w 429"/>
                  <a:gd name="T11" fmla="*/ 0 h 851"/>
                  <a:gd name="T12" fmla="*/ 0 w 429"/>
                  <a:gd name="T13" fmla="*/ 0 h 851"/>
                  <a:gd name="T14" fmla="*/ 0 w 429"/>
                  <a:gd name="T15" fmla="*/ 0 h 851"/>
                  <a:gd name="T16" fmla="*/ 0 w 429"/>
                  <a:gd name="T17" fmla="*/ 0 h 851"/>
                  <a:gd name="T18" fmla="*/ 0 w 429"/>
                  <a:gd name="T19" fmla="*/ 0 h 851"/>
                  <a:gd name="T20" fmla="*/ 0 w 429"/>
                  <a:gd name="T21" fmla="*/ 0 h 851"/>
                  <a:gd name="T22" fmla="*/ 0 w 429"/>
                  <a:gd name="T23" fmla="*/ 0 h 851"/>
                  <a:gd name="T24" fmla="*/ 0 w 429"/>
                  <a:gd name="T25" fmla="*/ 0 h 851"/>
                  <a:gd name="T26" fmla="*/ 0 w 429"/>
                  <a:gd name="T27" fmla="*/ 0 h 851"/>
                  <a:gd name="T28" fmla="*/ 0 w 429"/>
                  <a:gd name="T29" fmla="*/ 0 h 851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429" h="851">
                    <a:moveTo>
                      <a:pt x="0" y="851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96" y="0"/>
                      <a:pt x="96" y="0"/>
                      <a:pt x="96" y="0"/>
                    </a:cubicBezTo>
                    <a:cubicBezTo>
                      <a:pt x="96" y="300"/>
                      <a:pt x="96" y="300"/>
                      <a:pt x="96" y="300"/>
                    </a:cubicBezTo>
                    <a:cubicBezTo>
                      <a:pt x="147" y="280"/>
                      <a:pt x="194" y="270"/>
                      <a:pt x="239" y="270"/>
                    </a:cubicBezTo>
                    <a:cubicBezTo>
                      <a:pt x="328" y="270"/>
                      <a:pt x="386" y="300"/>
                      <a:pt x="411" y="359"/>
                    </a:cubicBezTo>
                    <a:cubicBezTo>
                      <a:pt x="423" y="386"/>
                      <a:pt x="429" y="434"/>
                      <a:pt x="429" y="504"/>
                    </a:cubicBezTo>
                    <a:cubicBezTo>
                      <a:pt x="429" y="851"/>
                      <a:pt x="429" y="851"/>
                      <a:pt x="429" y="851"/>
                    </a:cubicBezTo>
                    <a:cubicBezTo>
                      <a:pt x="332" y="851"/>
                      <a:pt x="332" y="851"/>
                      <a:pt x="332" y="851"/>
                    </a:cubicBezTo>
                    <a:cubicBezTo>
                      <a:pt x="332" y="489"/>
                      <a:pt x="332" y="489"/>
                      <a:pt x="332" y="489"/>
                    </a:cubicBezTo>
                    <a:cubicBezTo>
                      <a:pt x="332" y="435"/>
                      <a:pt x="326" y="397"/>
                      <a:pt x="315" y="374"/>
                    </a:cubicBezTo>
                    <a:cubicBezTo>
                      <a:pt x="300" y="344"/>
                      <a:pt x="271" y="329"/>
                      <a:pt x="230" y="329"/>
                    </a:cubicBezTo>
                    <a:cubicBezTo>
                      <a:pt x="192" y="329"/>
                      <a:pt x="147" y="340"/>
                      <a:pt x="96" y="363"/>
                    </a:cubicBezTo>
                    <a:cubicBezTo>
                      <a:pt x="96" y="851"/>
                      <a:pt x="96" y="851"/>
                      <a:pt x="96" y="851"/>
                    </a:cubicBezTo>
                    <a:lnTo>
                      <a:pt x="0" y="85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 sz="1600"/>
              </a:p>
            </p:txBody>
          </p:sp>
          <p:sp>
            <p:nvSpPr>
              <p:cNvPr id="29" name="Freeform 94"/>
              <p:cNvSpPr>
                <a:spLocks/>
              </p:cNvSpPr>
              <p:nvPr/>
            </p:nvSpPr>
            <p:spPr bwMode="gray">
              <a:xfrm>
                <a:off x="3818" y="1952"/>
                <a:ext cx="95" cy="168"/>
              </a:xfrm>
              <a:custGeom>
                <a:avLst/>
                <a:gdLst>
                  <a:gd name="T0" fmla="*/ 42 w 95"/>
                  <a:gd name="T1" fmla="*/ 115 h 168"/>
                  <a:gd name="T2" fmla="*/ 0 w 95"/>
                  <a:gd name="T3" fmla="*/ 0 h 168"/>
                  <a:gd name="T4" fmla="*/ 20 w 95"/>
                  <a:gd name="T5" fmla="*/ 0 h 168"/>
                  <a:gd name="T6" fmla="*/ 50 w 95"/>
                  <a:gd name="T7" fmla="*/ 91 h 168"/>
                  <a:gd name="T8" fmla="*/ 78 w 95"/>
                  <a:gd name="T9" fmla="*/ 0 h 168"/>
                  <a:gd name="T10" fmla="*/ 95 w 95"/>
                  <a:gd name="T11" fmla="*/ 0 h 168"/>
                  <a:gd name="T12" fmla="*/ 38 w 95"/>
                  <a:gd name="T13" fmla="*/ 168 h 168"/>
                  <a:gd name="T14" fmla="*/ 21 w 95"/>
                  <a:gd name="T15" fmla="*/ 168 h 168"/>
                  <a:gd name="T16" fmla="*/ 42 w 95"/>
                  <a:gd name="T17" fmla="*/ 115 h 16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95" h="168">
                    <a:moveTo>
                      <a:pt x="42" y="115"/>
                    </a:moveTo>
                    <a:lnTo>
                      <a:pt x="0" y="0"/>
                    </a:lnTo>
                    <a:lnTo>
                      <a:pt x="20" y="0"/>
                    </a:lnTo>
                    <a:lnTo>
                      <a:pt x="50" y="91"/>
                    </a:lnTo>
                    <a:lnTo>
                      <a:pt x="78" y="0"/>
                    </a:lnTo>
                    <a:lnTo>
                      <a:pt x="95" y="0"/>
                    </a:lnTo>
                    <a:lnTo>
                      <a:pt x="38" y="168"/>
                    </a:lnTo>
                    <a:lnTo>
                      <a:pt x="21" y="168"/>
                    </a:lnTo>
                    <a:lnTo>
                      <a:pt x="42" y="11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 sz="1600"/>
              </a:p>
            </p:txBody>
          </p:sp>
          <p:sp>
            <p:nvSpPr>
              <p:cNvPr id="30" name="Freeform 95"/>
              <p:cNvSpPr>
                <a:spLocks noEditPoints="1"/>
              </p:cNvSpPr>
              <p:nvPr/>
            </p:nvSpPr>
            <p:spPr bwMode="gray">
              <a:xfrm>
                <a:off x="3925" y="1949"/>
                <a:ext cx="95" cy="120"/>
              </a:xfrm>
              <a:custGeom>
                <a:avLst/>
                <a:gdLst>
                  <a:gd name="T0" fmla="*/ 0 w 475"/>
                  <a:gd name="T1" fmla="*/ 0 h 597"/>
                  <a:gd name="T2" fmla="*/ 0 w 475"/>
                  <a:gd name="T3" fmla="*/ 0 h 597"/>
                  <a:gd name="T4" fmla="*/ 0 w 475"/>
                  <a:gd name="T5" fmla="*/ 0 h 597"/>
                  <a:gd name="T6" fmla="*/ 0 w 475"/>
                  <a:gd name="T7" fmla="*/ 0 h 597"/>
                  <a:gd name="T8" fmla="*/ 0 w 475"/>
                  <a:gd name="T9" fmla="*/ 0 h 597"/>
                  <a:gd name="T10" fmla="*/ 0 w 475"/>
                  <a:gd name="T11" fmla="*/ 0 h 597"/>
                  <a:gd name="T12" fmla="*/ 0 w 475"/>
                  <a:gd name="T13" fmla="*/ 0 h 597"/>
                  <a:gd name="T14" fmla="*/ 0 w 475"/>
                  <a:gd name="T15" fmla="*/ 0 h 597"/>
                  <a:gd name="T16" fmla="*/ 0 w 475"/>
                  <a:gd name="T17" fmla="*/ 0 h 597"/>
                  <a:gd name="T18" fmla="*/ 0 w 475"/>
                  <a:gd name="T19" fmla="*/ 0 h 597"/>
                  <a:gd name="T20" fmla="*/ 0 w 475"/>
                  <a:gd name="T21" fmla="*/ 0 h 597"/>
                  <a:gd name="T22" fmla="*/ 0 w 475"/>
                  <a:gd name="T23" fmla="*/ 0 h 597"/>
                  <a:gd name="T24" fmla="*/ 0 w 475"/>
                  <a:gd name="T25" fmla="*/ 0 h 597"/>
                  <a:gd name="T26" fmla="*/ 0 w 475"/>
                  <a:gd name="T27" fmla="*/ 0 h 597"/>
                  <a:gd name="T28" fmla="*/ 0 w 475"/>
                  <a:gd name="T29" fmla="*/ 0 h 597"/>
                  <a:gd name="T30" fmla="*/ 0 w 475"/>
                  <a:gd name="T31" fmla="*/ 0 h 597"/>
                  <a:gd name="T32" fmla="*/ 0 w 475"/>
                  <a:gd name="T33" fmla="*/ 0 h 597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475" h="597">
                    <a:moveTo>
                      <a:pt x="238" y="0"/>
                    </a:moveTo>
                    <a:cubicBezTo>
                      <a:pt x="319" y="0"/>
                      <a:pt x="379" y="27"/>
                      <a:pt x="418" y="81"/>
                    </a:cubicBezTo>
                    <a:cubicBezTo>
                      <a:pt x="456" y="133"/>
                      <a:pt x="475" y="205"/>
                      <a:pt x="475" y="299"/>
                    </a:cubicBezTo>
                    <a:cubicBezTo>
                      <a:pt x="475" y="391"/>
                      <a:pt x="456" y="464"/>
                      <a:pt x="418" y="516"/>
                    </a:cubicBezTo>
                    <a:cubicBezTo>
                      <a:pt x="380" y="570"/>
                      <a:pt x="320" y="597"/>
                      <a:pt x="238" y="597"/>
                    </a:cubicBezTo>
                    <a:cubicBezTo>
                      <a:pt x="79" y="597"/>
                      <a:pt x="0" y="496"/>
                      <a:pt x="0" y="295"/>
                    </a:cubicBezTo>
                    <a:cubicBezTo>
                      <a:pt x="0" y="204"/>
                      <a:pt x="19" y="133"/>
                      <a:pt x="57" y="81"/>
                    </a:cubicBezTo>
                    <a:cubicBezTo>
                      <a:pt x="96" y="27"/>
                      <a:pt x="157" y="0"/>
                      <a:pt x="238" y="0"/>
                    </a:cubicBezTo>
                    <a:moveTo>
                      <a:pt x="238" y="59"/>
                    </a:moveTo>
                    <a:cubicBezTo>
                      <a:pt x="183" y="59"/>
                      <a:pt x="145" y="83"/>
                      <a:pt x="124" y="132"/>
                    </a:cubicBezTo>
                    <a:cubicBezTo>
                      <a:pt x="107" y="173"/>
                      <a:pt x="98" y="227"/>
                      <a:pt x="98" y="296"/>
                    </a:cubicBezTo>
                    <a:cubicBezTo>
                      <a:pt x="98" y="368"/>
                      <a:pt x="107" y="424"/>
                      <a:pt x="124" y="465"/>
                    </a:cubicBezTo>
                    <a:cubicBezTo>
                      <a:pt x="145" y="514"/>
                      <a:pt x="183" y="539"/>
                      <a:pt x="238" y="539"/>
                    </a:cubicBezTo>
                    <a:cubicBezTo>
                      <a:pt x="292" y="539"/>
                      <a:pt x="330" y="514"/>
                      <a:pt x="351" y="465"/>
                    </a:cubicBezTo>
                    <a:cubicBezTo>
                      <a:pt x="368" y="424"/>
                      <a:pt x="376" y="369"/>
                      <a:pt x="376" y="299"/>
                    </a:cubicBezTo>
                    <a:cubicBezTo>
                      <a:pt x="376" y="227"/>
                      <a:pt x="368" y="172"/>
                      <a:pt x="351" y="132"/>
                    </a:cubicBezTo>
                    <a:cubicBezTo>
                      <a:pt x="329" y="83"/>
                      <a:pt x="292" y="59"/>
                      <a:pt x="238" y="59"/>
                    </a:cubicBezTo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 sz="1600"/>
              </a:p>
            </p:txBody>
          </p:sp>
          <p:sp>
            <p:nvSpPr>
              <p:cNvPr id="31" name="Freeform 96"/>
              <p:cNvSpPr>
                <a:spLocks/>
              </p:cNvSpPr>
              <p:nvPr/>
            </p:nvSpPr>
            <p:spPr bwMode="gray">
              <a:xfrm>
                <a:off x="4046" y="1952"/>
                <a:ext cx="83" cy="117"/>
              </a:xfrm>
              <a:custGeom>
                <a:avLst/>
                <a:gdLst>
                  <a:gd name="T0" fmla="*/ 0 w 412"/>
                  <a:gd name="T1" fmla="*/ 0 h 581"/>
                  <a:gd name="T2" fmla="*/ 0 w 412"/>
                  <a:gd name="T3" fmla="*/ 0 h 581"/>
                  <a:gd name="T4" fmla="*/ 0 w 412"/>
                  <a:gd name="T5" fmla="*/ 0 h 581"/>
                  <a:gd name="T6" fmla="*/ 0 w 412"/>
                  <a:gd name="T7" fmla="*/ 0 h 581"/>
                  <a:gd name="T8" fmla="*/ 0 w 412"/>
                  <a:gd name="T9" fmla="*/ 0 h 581"/>
                  <a:gd name="T10" fmla="*/ 0 w 412"/>
                  <a:gd name="T11" fmla="*/ 0 h 581"/>
                  <a:gd name="T12" fmla="*/ 0 w 412"/>
                  <a:gd name="T13" fmla="*/ 0 h 581"/>
                  <a:gd name="T14" fmla="*/ 0 w 412"/>
                  <a:gd name="T15" fmla="*/ 0 h 581"/>
                  <a:gd name="T16" fmla="*/ 0 w 412"/>
                  <a:gd name="T17" fmla="*/ 0 h 581"/>
                  <a:gd name="T18" fmla="*/ 0 w 412"/>
                  <a:gd name="T19" fmla="*/ 0 h 581"/>
                  <a:gd name="T20" fmla="*/ 0 w 412"/>
                  <a:gd name="T21" fmla="*/ 0 h 581"/>
                  <a:gd name="T22" fmla="*/ 0 w 412"/>
                  <a:gd name="T23" fmla="*/ 0 h 581"/>
                  <a:gd name="T24" fmla="*/ 0 w 412"/>
                  <a:gd name="T25" fmla="*/ 0 h 581"/>
                  <a:gd name="T26" fmla="*/ 0 w 412"/>
                  <a:gd name="T27" fmla="*/ 0 h 581"/>
                  <a:gd name="T28" fmla="*/ 0 w 412"/>
                  <a:gd name="T29" fmla="*/ 0 h 581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412" h="581">
                    <a:moveTo>
                      <a:pt x="0" y="0"/>
                    </a:moveTo>
                    <a:cubicBezTo>
                      <a:pt x="96" y="0"/>
                      <a:pt x="96" y="0"/>
                      <a:pt x="96" y="0"/>
                    </a:cubicBezTo>
                    <a:cubicBezTo>
                      <a:pt x="96" y="349"/>
                      <a:pt x="96" y="349"/>
                      <a:pt x="96" y="349"/>
                    </a:cubicBezTo>
                    <a:cubicBezTo>
                      <a:pt x="96" y="413"/>
                      <a:pt x="102" y="456"/>
                      <a:pt x="114" y="477"/>
                    </a:cubicBezTo>
                    <a:cubicBezTo>
                      <a:pt x="123" y="495"/>
                      <a:pt x="136" y="507"/>
                      <a:pt x="154" y="514"/>
                    </a:cubicBezTo>
                    <a:cubicBezTo>
                      <a:pt x="168" y="520"/>
                      <a:pt x="189" y="523"/>
                      <a:pt x="216" y="523"/>
                    </a:cubicBezTo>
                    <a:cubicBezTo>
                      <a:pt x="248" y="523"/>
                      <a:pt x="281" y="518"/>
                      <a:pt x="316" y="508"/>
                    </a:cubicBezTo>
                    <a:cubicBezTo>
                      <a:pt x="316" y="0"/>
                      <a:pt x="316" y="0"/>
                      <a:pt x="316" y="0"/>
                    </a:cubicBezTo>
                    <a:cubicBezTo>
                      <a:pt x="412" y="0"/>
                      <a:pt x="412" y="0"/>
                      <a:pt x="412" y="0"/>
                    </a:cubicBezTo>
                    <a:cubicBezTo>
                      <a:pt x="412" y="556"/>
                      <a:pt x="412" y="556"/>
                      <a:pt x="412" y="556"/>
                    </a:cubicBezTo>
                    <a:cubicBezTo>
                      <a:pt x="341" y="573"/>
                      <a:pt x="273" y="581"/>
                      <a:pt x="210" y="581"/>
                    </a:cubicBezTo>
                    <a:cubicBezTo>
                      <a:pt x="146" y="581"/>
                      <a:pt x="98" y="571"/>
                      <a:pt x="67" y="551"/>
                    </a:cubicBezTo>
                    <a:cubicBezTo>
                      <a:pt x="32" y="528"/>
                      <a:pt x="11" y="493"/>
                      <a:pt x="4" y="445"/>
                    </a:cubicBezTo>
                    <a:cubicBezTo>
                      <a:pt x="1" y="422"/>
                      <a:pt x="0" y="393"/>
                      <a:pt x="0" y="356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 sz="1600"/>
              </a:p>
            </p:txBody>
          </p:sp>
          <p:sp>
            <p:nvSpPr>
              <p:cNvPr id="32" name="Freeform 97"/>
              <p:cNvSpPr>
                <a:spLocks/>
              </p:cNvSpPr>
              <p:nvPr/>
            </p:nvSpPr>
            <p:spPr bwMode="gray">
              <a:xfrm>
                <a:off x="2581" y="858"/>
                <a:ext cx="372" cy="287"/>
              </a:xfrm>
              <a:custGeom>
                <a:avLst/>
                <a:gdLst>
                  <a:gd name="T0" fmla="*/ 0 w 1858"/>
                  <a:gd name="T1" fmla="*/ 0 h 1434"/>
                  <a:gd name="T2" fmla="*/ 0 w 1858"/>
                  <a:gd name="T3" fmla="*/ 0 h 1434"/>
                  <a:gd name="T4" fmla="*/ 0 w 1858"/>
                  <a:gd name="T5" fmla="*/ 0 h 1434"/>
                  <a:gd name="T6" fmla="*/ 0 w 1858"/>
                  <a:gd name="T7" fmla="*/ 0 h 1434"/>
                  <a:gd name="T8" fmla="*/ 0 w 1858"/>
                  <a:gd name="T9" fmla="*/ 0 h 1434"/>
                  <a:gd name="T10" fmla="*/ 0 w 1858"/>
                  <a:gd name="T11" fmla="*/ 0 h 1434"/>
                  <a:gd name="T12" fmla="*/ 0 w 1858"/>
                  <a:gd name="T13" fmla="*/ 0 h 1434"/>
                  <a:gd name="T14" fmla="*/ 0 w 1858"/>
                  <a:gd name="T15" fmla="*/ 0 h 1434"/>
                  <a:gd name="T16" fmla="*/ 0 w 1858"/>
                  <a:gd name="T17" fmla="*/ 0 h 1434"/>
                  <a:gd name="T18" fmla="*/ 0 w 1858"/>
                  <a:gd name="T19" fmla="*/ 0 h 1434"/>
                  <a:gd name="T20" fmla="*/ 0 w 1858"/>
                  <a:gd name="T21" fmla="*/ 0 h 1434"/>
                  <a:gd name="T22" fmla="*/ 0 w 1858"/>
                  <a:gd name="T23" fmla="*/ 0 h 1434"/>
                  <a:gd name="T24" fmla="*/ 0 w 1858"/>
                  <a:gd name="T25" fmla="*/ 0 h 1434"/>
                  <a:gd name="T26" fmla="*/ 1 w 1858"/>
                  <a:gd name="T27" fmla="*/ 0 h 1434"/>
                  <a:gd name="T28" fmla="*/ 0 w 1858"/>
                  <a:gd name="T29" fmla="*/ 0 h 1434"/>
                  <a:gd name="T30" fmla="*/ 0 w 1858"/>
                  <a:gd name="T31" fmla="*/ 0 h 1434"/>
                  <a:gd name="T32" fmla="*/ 0 w 1858"/>
                  <a:gd name="T33" fmla="*/ 0 h 1434"/>
                  <a:gd name="T34" fmla="*/ 0 w 1858"/>
                  <a:gd name="T35" fmla="*/ 0 h 1434"/>
                  <a:gd name="T36" fmla="*/ 1 w 1858"/>
                  <a:gd name="T37" fmla="*/ 0 h 1434"/>
                  <a:gd name="T38" fmla="*/ 0 w 1858"/>
                  <a:gd name="T39" fmla="*/ 0 h 1434"/>
                  <a:gd name="T40" fmla="*/ 0 w 1858"/>
                  <a:gd name="T41" fmla="*/ 0 h 1434"/>
                  <a:gd name="T42" fmla="*/ 0 w 1858"/>
                  <a:gd name="T43" fmla="*/ 0 h 1434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1858" h="1434">
                    <a:moveTo>
                      <a:pt x="755" y="601"/>
                    </a:moveTo>
                    <a:cubicBezTo>
                      <a:pt x="687" y="541"/>
                      <a:pt x="578" y="505"/>
                      <a:pt x="470" y="505"/>
                    </a:cubicBezTo>
                    <a:cubicBezTo>
                      <a:pt x="212" y="504"/>
                      <a:pt x="2" y="707"/>
                      <a:pt x="1" y="970"/>
                    </a:cubicBezTo>
                    <a:cubicBezTo>
                      <a:pt x="0" y="1228"/>
                      <a:pt x="212" y="1433"/>
                      <a:pt x="470" y="1433"/>
                    </a:cubicBezTo>
                    <a:cubicBezTo>
                      <a:pt x="615" y="1434"/>
                      <a:pt x="741" y="1375"/>
                      <a:pt x="827" y="1272"/>
                    </a:cubicBezTo>
                    <a:cubicBezTo>
                      <a:pt x="827" y="1015"/>
                      <a:pt x="827" y="1015"/>
                      <a:pt x="827" y="1015"/>
                    </a:cubicBezTo>
                    <a:cubicBezTo>
                      <a:pt x="781" y="1095"/>
                      <a:pt x="689" y="1197"/>
                      <a:pt x="605" y="1232"/>
                    </a:cubicBezTo>
                    <a:cubicBezTo>
                      <a:pt x="563" y="1249"/>
                      <a:pt x="520" y="1260"/>
                      <a:pt x="470" y="1260"/>
                    </a:cubicBezTo>
                    <a:cubicBezTo>
                      <a:pt x="309" y="1260"/>
                      <a:pt x="176" y="1135"/>
                      <a:pt x="176" y="970"/>
                    </a:cubicBezTo>
                    <a:cubicBezTo>
                      <a:pt x="176" y="818"/>
                      <a:pt x="299" y="677"/>
                      <a:pt x="470" y="678"/>
                    </a:cubicBezTo>
                    <a:cubicBezTo>
                      <a:pt x="551" y="678"/>
                      <a:pt x="623" y="711"/>
                      <a:pt x="676" y="763"/>
                    </a:cubicBezTo>
                    <a:cubicBezTo>
                      <a:pt x="732" y="817"/>
                      <a:pt x="818" y="929"/>
                      <a:pt x="859" y="973"/>
                    </a:cubicBezTo>
                    <a:cubicBezTo>
                      <a:pt x="964" y="1086"/>
                      <a:pt x="1115" y="1157"/>
                      <a:pt x="1281" y="1157"/>
                    </a:cubicBezTo>
                    <a:cubicBezTo>
                      <a:pt x="1599" y="1158"/>
                      <a:pt x="1858" y="900"/>
                      <a:pt x="1858" y="582"/>
                    </a:cubicBezTo>
                    <a:cubicBezTo>
                      <a:pt x="1858" y="264"/>
                      <a:pt x="1599" y="0"/>
                      <a:pt x="1281" y="0"/>
                    </a:cubicBezTo>
                    <a:cubicBezTo>
                      <a:pt x="1096" y="0"/>
                      <a:pt x="933" y="96"/>
                      <a:pt x="827" y="231"/>
                    </a:cubicBezTo>
                    <a:cubicBezTo>
                      <a:pt x="827" y="577"/>
                      <a:pt x="827" y="577"/>
                      <a:pt x="827" y="577"/>
                    </a:cubicBezTo>
                    <a:cubicBezTo>
                      <a:pt x="908" y="358"/>
                      <a:pt x="1053" y="182"/>
                      <a:pt x="1281" y="182"/>
                    </a:cubicBezTo>
                    <a:cubicBezTo>
                      <a:pt x="1500" y="182"/>
                      <a:pt x="1677" y="363"/>
                      <a:pt x="1677" y="582"/>
                    </a:cubicBezTo>
                    <a:cubicBezTo>
                      <a:pt x="1676" y="801"/>
                      <a:pt x="1500" y="979"/>
                      <a:pt x="1281" y="978"/>
                    </a:cubicBezTo>
                    <a:cubicBezTo>
                      <a:pt x="1183" y="978"/>
                      <a:pt x="1093" y="942"/>
                      <a:pt x="1024" y="884"/>
                    </a:cubicBezTo>
                    <a:cubicBezTo>
                      <a:pt x="938" y="817"/>
                      <a:pt x="843" y="675"/>
                      <a:pt x="755" y="601"/>
                    </a:cubicBezTo>
                  </a:path>
                </a:pathLst>
              </a:custGeom>
              <a:solidFill>
                <a:srgbClr val="FF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 sz="1600"/>
              </a:p>
            </p:txBody>
          </p:sp>
          <p:sp>
            <p:nvSpPr>
              <p:cNvPr id="33" name="Freeform 98"/>
              <p:cNvSpPr>
                <a:spLocks/>
              </p:cNvSpPr>
              <p:nvPr/>
            </p:nvSpPr>
            <p:spPr bwMode="gray">
              <a:xfrm>
                <a:off x="1974" y="1170"/>
                <a:ext cx="256" cy="417"/>
              </a:xfrm>
              <a:custGeom>
                <a:avLst/>
                <a:gdLst>
                  <a:gd name="T0" fmla="*/ 0 w 1276"/>
                  <a:gd name="T1" fmla="*/ 0 h 2083"/>
                  <a:gd name="T2" fmla="*/ 0 w 1276"/>
                  <a:gd name="T3" fmla="*/ 0 h 2083"/>
                  <a:gd name="T4" fmla="*/ 0 w 1276"/>
                  <a:gd name="T5" fmla="*/ 0 h 2083"/>
                  <a:gd name="T6" fmla="*/ 0 w 1276"/>
                  <a:gd name="T7" fmla="*/ 0 h 2083"/>
                  <a:gd name="T8" fmla="*/ 0 w 1276"/>
                  <a:gd name="T9" fmla="*/ 0 h 2083"/>
                  <a:gd name="T10" fmla="*/ 0 w 1276"/>
                  <a:gd name="T11" fmla="*/ 0 h 2083"/>
                  <a:gd name="T12" fmla="*/ 0 w 1276"/>
                  <a:gd name="T13" fmla="*/ 0 h 2083"/>
                  <a:gd name="T14" fmla="*/ 0 w 1276"/>
                  <a:gd name="T15" fmla="*/ 0 h 2083"/>
                  <a:gd name="T16" fmla="*/ 0 w 1276"/>
                  <a:gd name="T17" fmla="*/ 0 h 2083"/>
                  <a:gd name="T18" fmla="*/ 0 w 1276"/>
                  <a:gd name="T19" fmla="*/ 0 h 2083"/>
                  <a:gd name="T20" fmla="*/ 0 w 1276"/>
                  <a:gd name="T21" fmla="*/ 1 h 2083"/>
                  <a:gd name="T22" fmla="*/ 0 w 1276"/>
                  <a:gd name="T23" fmla="*/ 1 h 2083"/>
                  <a:gd name="T24" fmla="*/ 0 w 1276"/>
                  <a:gd name="T25" fmla="*/ 1 h 2083"/>
                  <a:gd name="T26" fmla="*/ 0 w 1276"/>
                  <a:gd name="T27" fmla="*/ 1 h 2083"/>
                  <a:gd name="T28" fmla="*/ 0 w 1276"/>
                  <a:gd name="T29" fmla="*/ 0 h 2083"/>
                  <a:gd name="T30" fmla="*/ 0 w 1276"/>
                  <a:gd name="T31" fmla="*/ 0 h 2083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1276" h="2083">
                    <a:moveTo>
                      <a:pt x="0" y="0"/>
                    </a:moveTo>
                    <a:cubicBezTo>
                      <a:pt x="1276" y="0"/>
                      <a:pt x="1276" y="0"/>
                      <a:pt x="1276" y="0"/>
                    </a:cubicBezTo>
                    <a:cubicBezTo>
                      <a:pt x="1276" y="355"/>
                      <a:pt x="1276" y="355"/>
                      <a:pt x="1276" y="355"/>
                    </a:cubicBezTo>
                    <a:cubicBezTo>
                      <a:pt x="1276" y="355"/>
                      <a:pt x="1210" y="215"/>
                      <a:pt x="1072" y="215"/>
                    </a:cubicBezTo>
                    <a:cubicBezTo>
                      <a:pt x="482" y="215"/>
                      <a:pt x="482" y="215"/>
                      <a:pt x="482" y="215"/>
                    </a:cubicBezTo>
                    <a:cubicBezTo>
                      <a:pt x="482" y="828"/>
                      <a:pt x="482" y="828"/>
                      <a:pt x="482" y="828"/>
                    </a:cubicBezTo>
                    <a:cubicBezTo>
                      <a:pt x="1122" y="828"/>
                      <a:pt x="1122" y="828"/>
                      <a:pt x="1122" y="828"/>
                    </a:cubicBezTo>
                    <a:cubicBezTo>
                      <a:pt x="1122" y="1153"/>
                      <a:pt x="1122" y="1153"/>
                      <a:pt x="1122" y="1153"/>
                    </a:cubicBezTo>
                    <a:cubicBezTo>
                      <a:pt x="1122" y="1153"/>
                      <a:pt x="1101" y="1049"/>
                      <a:pt x="947" y="1049"/>
                    </a:cubicBezTo>
                    <a:cubicBezTo>
                      <a:pt x="482" y="1049"/>
                      <a:pt x="482" y="1049"/>
                      <a:pt x="482" y="1049"/>
                    </a:cubicBezTo>
                    <a:cubicBezTo>
                      <a:pt x="482" y="1886"/>
                      <a:pt x="482" y="1886"/>
                      <a:pt x="482" y="1886"/>
                    </a:cubicBezTo>
                    <a:cubicBezTo>
                      <a:pt x="482" y="2010"/>
                      <a:pt x="616" y="2083"/>
                      <a:pt x="616" y="2083"/>
                    </a:cubicBezTo>
                    <a:cubicBezTo>
                      <a:pt x="9" y="2083"/>
                      <a:pt x="9" y="2083"/>
                      <a:pt x="9" y="2083"/>
                    </a:cubicBezTo>
                    <a:cubicBezTo>
                      <a:pt x="9" y="2083"/>
                      <a:pt x="136" y="2019"/>
                      <a:pt x="136" y="1886"/>
                    </a:cubicBezTo>
                    <a:cubicBezTo>
                      <a:pt x="136" y="219"/>
                      <a:pt x="136" y="219"/>
                      <a:pt x="136" y="219"/>
                    </a:cubicBezTo>
                    <a:cubicBezTo>
                      <a:pt x="136" y="79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FF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 sz="1600"/>
              </a:p>
            </p:txBody>
          </p:sp>
          <p:sp>
            <p:nvSpPr>
              <p:cNvPr id="34" name="Freeform 99"/>
              <p:cNvSpPr>
                <a:spLocks/>
              </p:cNvSpPr>
              <p:nvPr/>
            </p:nvSpPr>
            <p:spPr bwMode="gray">
              <a:xfrm>
                <a:off x="2577" y="1171"/>
                <a:ext cx="169" cy="581"/>
              </a:xfrm>
              <a:custGeom>
                <a:avLst/>
                <a:gdLst>
                  <a:gd name="T0" fmla="*/ 0 w 842"/>
                  <a:gd name="T1" fmla="*/ 0 h 2904"/>
                  <a:gd name="T2" fmla="*/ 0 w 842"/>
                  <a:gd name="T3" fmla="*/ 0 h 2904"/>
                  <a:gd name="T4" fmla="*/ 0 w 842"/>
                  <a:gd name="T5" fmla="*/ 0 h 2904"/>
                  <a:gd name="T6" fmla="*/ 0 w 842"/>
                  <a:gd name="T7" fmla="*/ 1 h 2904"/>
                  <a:gd name="T8" fmla="*/ 0 w 842"/>
                  <a:gd name="T9" fmla="*/ 1 h 2904"/>
                  <a:gd name="T10" fmla="*/ 0 w 842"/>
                  <a:gd name="T11" fmla="*/ 1 h 2904"/>
                  <a:gd name="T12" fmla="*/ 0 w 842"/>
                  <a:gd name="T13" fmla="*/ 0 h 2904"/>
                  <a:gd name="T14" fmla="*/ 0 w 842"/>
                  <a:gd name="T15" fmla="*/ 0 h 290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842" h="2904">
                    <a:moveTo>
                      <a:pt x="193" y="0"/>
                    </a:moveTo>
                    <a:cubicBezTo>
                      <a:pt x="842" y="0"/>
                      <a:pt x="842" y="0"/>
                      <a:pt x="842" y="0"/>
                    </a:cubicBezTo>
                    <a:cubicBezTo>
                      <a:pt x="842" y="0"/>
                      <a:pt x="697" y="69"/>
                      <a:pt x="697" y="181"/>
                    </a:cubicBezTo>
                    <a:cubicBezTo>
                      <a:pt x="697" y="2135"/>
                      <a:pt x="697" y="2135"/>
                      <a:pt x="697" y="2135"/>
                    </a:cubicBezTo>
                    <a:cubicBezTo>
                      <a:pt x="697" y="2796"/>
                      <a:pt x="34" y="2904"/>
                      <a:pt x="0" y="2902"/>
                    </a:cubicBezTo>
                    <a:cubicBezTo>
                      <a:pt x="56" y="2866"/>
                      <a:pt x="331" y="2631"/>
                      <a:pt x="332" y="2135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33" y="76"/>
                      <a:pt x="193" y="0"/>
                      <a:pt x="193" y="0"/>
                    </a:cubicBezTo>
                    <a:close/>
                  </a:path>
                </a:pathLst>
              </a:custGeom>
              <a:solidFill>
                <a:srgbClr val="FF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 sz="1600"/>
              </a:p>
            </p:txBody>
          </p:sp>
          <p:sp>
            <p:nvSpPr>
              <p:cNvPr id="35" name="Freeform 100"/>
              <p:cNvSpPr>
                <a:spLocks/>
              </p:cNvSpPr>
              <p:nvPr/>
            </p:nvSpPr>
            <p:spPr bwMode="gray">
              <a:xfrm>
                <a:off x="2764" y="1171"/>
                <a:ext cx="130" cy="417"/>
              </a:xfrm>
              <a:custGeom>
                <a:avLst/>
                <a:gdLst>
                  <a:gd name="T0" fmla="*/ 0 w 651"/>
                  <a:gd name="T1" fmla="*/ 0 h 2084"/>
                  <a:gd name="T2" fmla="*/ 0 w 651"/>
                  <a:gd name="T3" fmla="*/ 0 h 2084"/>
                  <a:gd name="T4" fmla="*/ 0 w 651"/>
                  <a:gd name="T5" fmla="*/ 0 h 2084"/>
                  <a:gd name="T6" fmla="*/ 0 w 651"/>
                  <a:gd name="T7" fmla="*/ 1 h 2084"/>
                  <a:gd name="T8" fmla="*/ 0 w 651"/>
                  <a:gd name="T9" fmla="*/ 1 h 2084"/>
                  <a:gd name="T10" fmla="*/ 0 w 651"/>
                  <a:gd name="T11" fmla="*/ 1 h 2084"/>
                  <a:gd name="T12" fmla="*/ 0 w 651"/>
                  <a:gd name="T13" fmla="*/ 1 h 2084"/>
                  <a:gd name="T14" fmla="*/ 0 w 651"/>
                  <a:gd name="T15" fmla="*/ 0 h 2084"/>
                  <a:gd name="T16" fmla="*/ 0 w 651"/>
                  <a:gd name="T17" fmla="*/ 0 h 208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651" h="2084">
                    <a:moveTo>
                      <a:pt x="0" y="0"/>
                    </a:moveTo>
                    <a:cubicBezTo>
                      <a:pt x="651" y="0"/>
                      <a:pt x="651" y="0"/>
                      <a:pt x="651" y="0"/>
                    </a:cubicBezTo>
                    <a:cubicBezTo>
                      <a:pt x="651" y="0"/>
                      <a:pt x="507" y="69"/>
                      <a:pt x="507" y="184"/>
                    </a:cubicBezTo>
                    <a:cubicBezTo>
                      <a:pt x="507" y="1886"/>
                      <a:pt x="507" y="1886"/>
                      <a:pt x="507" y="1886"/>
                    </a:cubicBezTo>
                    <a:cubicBezTo>
                      <a:pt x="507" y="2008"/>
                      <a:pt x="651" y="2084"/>
                      <a:pt x="651" y="2084"/>
                    </a:cubicBezTo>
                    <a:cubicBezTo>
                      <a:pt x="0" y="2084"/>
                      <a:pt x="0" y="2084"/>
                      <a:pt x="0" y="2084"/>
                    </a:cubicBezTo>
                    <a:cubicBezTo>
                      <a:pt x="0" y="2084"/>
                      <a:pt x="145" y="2008"/>
                      <a:pt x="145" y="1886"/>
                    </a:cubicBezTo>
                    <a:cubicBezTo>
                      <a:pt x="145" y="184"/>
                      <a:pt x="145" y="184"/>
                      <a:pt x="145" y="184"/>
                    </a:cubicBezTo>
                    <a:cubicBezTo>
                      <a:pt x="145" y="69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FF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 sz="1600"/>
              </a:p>
            </p:txBody>
          </p:sp>
          <p:sp>
            <p:nvSpPr>
              <p:cNvPr id="36" name="Freeform 101"/>
              <p:cNvSpPr>
                <a:spLocks/>
              </p:cNvSpPr>
              <p:nvPr/>
            </p:nvSpPr>
            <p:spPr bwMode="gray">
              <a:xfrm>
                <a:off x="2895" y="1171"/>
                <a:ext cx="312" cy="417"/>
              </a:xfrm>
              <a:custGeom>
                <a:avLst/>
                <a:gdLst>
                  <a:gd name="T0" fmla="*/ 0 w 1559"/>
                  <a:gd name="T1" fmla="*/ 0 h 2083"/>
                  <a:gd name="T2" fmla="*/ 0 w 1559"/>
                  <a:gd name="T3" fmla="*/ 0 h 2083"/>
                  <a:gd name="T4" fmla="*/ 0 w 1559"/>
                  <a:gd name="T5" fmla="*/ 0 h 2083"/>
                  <a:gd name="T6" fmla="*/ 0 w 1559"/>
                  <a:gd name="T7" fmla="*/ 0 h 2083"/>
                  <a:gd name="T8" fmla="*/ 0 w 1559"/>
                  <a:gd name="T9" fmla="*/ 0 h 2083"/>
                  <a:gd name="T10" fmla="*/ 0 w 1559"/>
                  <a:gd name="T11" fmla="*/ 1 h 2083"/>
                  <a:gd name="T12" fmla="*/ 0 w 1559"/>
                  <a:gd name="T13" fmla="*/ 1 h 2083"/>
                  <a:gd name="T14" fmla="*/ 0 w 1559"/>
                  <a:gd name="T15" fmla="*/ 1 h 2083"/>
                  <a:gd name="T16" fmla="*/ 0 w 1559"/>
                  <a:gd name="T17" fmla="*/ 1 h 2083"/>
                  <a:gd name="T18" fmla="*/ 0 w 1559"/>
                  <a:gd name="T19" fmla="*/ 0 h 2083"/>
                  <a:gd name="T20" fmla="*/ 0 w 1559"/>
                  <a:gd name="T21" fmla="*/ 0 h 2083"/>
                  <a:gd name="T22" fmla="*/ 0 w 1559"/>
                  <a:gd name="T23" fmla="*/ 0 h 2083"/>
                  <a:gd name="T24" fmla="*/ 0 w 1559"/>
                  <a:gd name="T25" fmla="*/ 0 h 208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559" h="2083">
                    <a:moveTo>
                      <a:pt x="127" y="0"/>
                    </a:moveTo>
                    <a:cubicBezTo>
                      <a:pt x="1559" y="0"/>
                      <a:pt x="1559" y="0"/>
                      <a:pt x="1559" y="0"/>
                    </a:cubicBezTo>
                    <a:cubicBezTo>
                      <a:pt x="1438" y="378"/>
                      <a:pt x="1438" y="378"/>
                      <a:pt x="1438" y="378"/>
                    </a:cubicBezTo>
                    <a:cubicBezTo>
                      <a:pt x="1438" y="378"/>
                      <a:pt x="1401" y="219"/>
                      <a:pt x="1263" y="219"/>
                    </a:cubicBezTo>
                    <a:cubicBezTo>
                      <a:pt x="966" y="219"/>
                      <a:pt x="966" y="219"/>
                      <a:pt x="966" y="219"/>
                    </a:cubicBezTo>
                    <a:cubicBezTo>
                      <a:pt x="966" y="1886"/>
                      <a:pt x="966" y="1886"/>
                      <a:pt x="966" y="1886"/>
                    </a:cubicBezTo>
                    <a:cubicBezTo>
                      <a:pt x="966" y="1991"/>
                      <a:pt x="1106" y="2083"/>
                      <a:pt x="1106" y="2083"/>
                    </a:cubicBezTo>
                    <a:cubicBezTo>
                      <a:pt x="468" y="2083"/>
                      <a:pt x="468" y="2083"/>
                      <a:pt x="468" y="2083"/>
                    </a:cubicBezTo>
                    <a:cubicBezTo>
                      <a:pt x="468" y="2083"/>
                      <a:pt x="606" y="2000"/>
                      <a:pt x="606" y="1886"/>
                    </a:cubicBezTo>
                    <a:cubicBezTo>
                      <a:pt x="606" y="219"/>
                      <a:pt x="606" y="219"/>
                      <a:pt x="606" y="219"/>
                    </a:cubicBezTo>
                    <a:cubicBezTo>
                      <a:pt x="248" y="219"/>
                      <a:pt x="248" y="219"/>
                      <a:pt x="248" y="219"/>
                    </a:cubicBezTo>
                    <a:cubicBezTo>
                      <a:pt x="146" y="219"/>
                      <a:pt x="0" y="410"/>
                      <a:pt x="0" y="410"/>
                    </a:cubicBezTo>
                    <a:lnTo>
                      <a:pt x="127" y="0"/>
                    </a:lnTo>
                    <a:close/>
                  </a:path>
                </a:pathLst>
              </a:custGeom>
              <a:solidFill>
                <a:srgbClr val="FF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 sz="1600"/>
              </a:p>
            </p:txBody>
          </p:sp>
          <p:sp>
            <p:nvSpPr>
              <p:cNvPr id="37" name="Freeform 102"/>
              <p:cNvSpPr>
                <a:spLocks/>
              </p:cNvSpPr>
              <p:nvPr/>
            </p:nvSpPr>
            <p:spPr bwMode="gray">
              <a:xfrm>
                <a:off x="3462" y="1171"/>
                <a:ext cx="349" cy="423"/>
              </a:xfrm>
              <a:custGeom>
                <a:avLst/>
                <a:gdLst>
                  <a:gd name="T0" fmla="*/ 0 w 1743"/>
                  <a:gd name="T1" fmla="*/ 0 h 2115"/>
                  <a:gd name="T2" fmla="*/ 1 w 1743"/>
                  <a:gd name="T3" fmla="*/ 0 h 2115"/>
                  <a:gd name="T4" fmla="*/ 1 w 1743"/>
                  <a:gd name="T5" fmla="*/ 0 h 2115"/>
                  <a:gd name="T6" fmla="*/ 1 w 1743"/>
                  <a:gd name="T7" fmla="*/ 0 h 2115"/>
                  <a:gd name="T8" fmla="*/ 0 w 1743"/>
                  <a:gd name="T9" fmla="*/ 1 h 2115"/>
                  <a:gd name="T10" fmla="*/ 0 w 1743"/>
                  <a:gd name="T11" fmla="*/ 0 h 2115"/>
                  <a:gd name="T12" fmla="*/ 0 w 1743"/>
                  <a:gd name="T13" fmla="*/ 0 h 2115"/>
                  <a:gd name="T14" fmla="*/ 0 w 1743"/>
                  <a:gd name="T15" fmla="*/ 0 h 2115"/>
                  <a:gd name="T16" fmla="*/ 0 w 1743"/>
                  <a:gd name="T17" fmla="*/ 0 h 2115"/>
                  <a:gd name="T18" fmla="*/ 0 w 1743"/>
                  <a:gd name="T19" fmla="*/ 0 h 2115"/>
                  <a:gd name="T20" fmla="*/ 0 w 1743"/>
                  <a:gd name="T21" fmla="*/ 0 h 2115"/>
                  <a:gd name="T22" fmla="*/ 0 w 1743"/>
                  <a:gd name="T23" fmla="*/ 1 h 2115"/>
                  <a:gd name="T24" fmla="*/ 0 w 1743"/>
                  <a:gd name="T25" fmla="*/ 0 h 2115"/>
                  <a:gd name="T26" fmla="*/ 0 w 1743"/>
                  <a:gd name="T27" fmla="*/ 0 h 2115"/>
                  <a:gd name="T28" fmla="*/ 0 w 1743"/>
                  <a:gd name="T29" fmla="*/ 0 h 211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1743" h="2115">
                    <a:moveTo>
                      <a:pt x="1116" y="0"/>
                    </a:moveTo>
                    <a:cubicBezTo>
                      <a:pt x="1743" y="0"/>
                      <a:pt x="1743" y="0"/>
                      <a:pt x="1743" y="0"/>
                    </a:cubicBezTo>
                    <a:cubicBezTo>
                      <a:pt x="1743" y="0"/>
                      <a:pt x="1609" y="71"/>
                      <a:pt x="1609" y="184"/>
                    </a:cubicBezTo>
                    <a:cubicBezTo>
                      <a:pt x="1609" y="1445"/>
                      <a:pt x="1609" y="1445"/>
                      <a:pt x="1609" y="1445"/>
                    </a:cubicBezTo>
                    <a:cubicBezTo>
                      <a:pt x="1608" y="1957"/>
                      <a:pt x="1183" y="2115"/>
                      <a:pt x="889" y="2115"/>
                    </a:cubicBezTo>
                    <a:cubicBezTo>
                      <a:pt x="596" y="2115"/>
                      <a:pt x="138" y="1955"/>
                      <a:pt x="138" y="1445"/>
                    </a:cubicBezTo>
                    <a:cubicBezTo>
                      <a:pt x="138" y="184"/>
                      <a:pt x="138" y="184"/>
                      <a:pt x="138" y="184"/>
                    </a:cubicBezTo>
                    <a:cubicBezTo>
                      <a:pt x="139" y="71"/>
                      <a:pt x="0" y="0"/>
                      <a:pt x="0" y="0"/>
                    </a:cubicBezTo>
                    <a:cubicBezTo>
                      <a:pt x="645" y="0"/>
                      <a:pt x="645" y="0"/>
                      <a:pt x="645" y="0"/>
                    </a:cubicBezTo>
                    <a:cubicBezTo>
                      <a:pt x="645" y="0"/>
                      <a:pt x="502" y="69"/>
                      <a:pt x="502" y="184"/>
                    </a:cubicBezTo>
                    <a:cubicBezTo>
                      <a:pt x="502" y="1445"/>
                      <a:pt x="502" y="1445"/>
                      <a:pt x="502" y="1445"/>
                    </a:cubicBezTo>
                    <a:cubicBezTo>
                      <a:pt x="502" y="1714"/>
                      <a:pt x="680" y="1890"/>
                      <a:pt x="889" y="1890"/>
                    </a:cubicBezTo>
                    <a:cubicBezTo>
                      <a:pt x="1098" y="1890"/>
                      <a:pt x="1257" y="1707"/>
                      <a:pt x="1258" y="1445"/>
                    </a:cubicBezTo>
                    <a:cubicBezTo>
                      <a:pt x="1258" y="184"/>
                      <a:pt x="1258" y="184"/>
                      <a:pt x="1258" y="184"/>
                    </a:cubicBezTo>
                    <a:cubicBezTo>
                      <a:pt x="1258" y="71"/>
                      <a:pt x="1116" y="0"/>
                      <a:pt x="1116" y="0"/>
                    </a:cubicBezTo>
                    <a:close/>
                  </a:path>
                </a:pathLst>
              </a:custGeom>
              <a:solidFill>
                <a:srgbClr val="FF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 sz="1600"/>
              </a:p>
            </p:txBody>
          </p:sp>
          <p:sp>
            <p:nvSpPr>
              <p:cNvPr id="38" name="Freeform 103"/>
              <p:cNvSpPr>
                <a:spLocks/>
              </p:cNvSpPr>
              <p:nvPr/>
            </p:nvSpPr>
            <p:spPr bwMode="gray">
              <a:xfrm>
                <a:off x="2241" y="1171"/>
                <a:ext cx="352" cy="424"/>
              </a:xfrm>
              <a:custGeom>
                <a:avLst/>
                <a:gdLst>
                  <a:gd name="T0" fmla="*/ 0 w 1760"/>
                  <a:gd name="T1" fmla="*/ 0 h 2120"/>
                  <a:gd name="T2" fmla="*/ 1 w 1760"/>
                  <a:gd name="T3" fmla="*/ 0 h 2120"/>
                  <a:gd name="T4" fmla="*/ 1 w 1760"/>
                  <a:gd name="T5" fmla="*/ 0 h 2120"/>
                  <a:gd name="T6" fmla="*/ 1 w 1760"/>
                  <a:gd name="T7" fmla="*/ 0 h 2120"/>
                  <a:gd name="T8" fmla="*/ 0 w 1760"/>
                  <a:gd name="T9" fmla="*/ 1 h 2120"/>
                  <a:gd name="T10" fmla="*/ 0 w 1760"/>
                  <a:gd name="T11" fmla="*/ 0 h 2120"/>
                  <a:gd name="T12" fmla="*/ 0 w 1760"/>
                  <a:gd name="T13" fmla="*/ 0 h 2120"/>
                  <a:gd name="T14" fmla="*/ 0 w 1760"/>
                  <a:gd name="T15" fmla="*/ 0 h 2120"/>
                  <a:gd name="T16" fmla="*/ 0 w 1760"/>
                  <a:gd name="T17" fmla="*/ 0 h 2120"/>
                  <a:gd name="T18" fmla="*/ 0 w 1760"/>
                  <a:gd name="T19" fmla="*/ 0 h 2120"/>
                  <a:gd name="T20" fmla="*/ 0 w 1760"/>
                  <a:gd name="T21" fmla="*/ 0 h 2120"/>
                  <a:gd name="T22" fmla="*/ 0 w 1760"/>
                  <a:gd name="T23" fmla="*/ 1 h 2120"/>
                  <a:gd name="T24" fmla="*/ 0 w 1760"/>
                  <a:gd name="T25" fmla="*/ 0 h 2120"/>
                  <a:gd name="T26" fmla="*/ 0 w 1760"/>
                  <a:gd name="T27" fmla="*/ 0 h 2120"/>
                  <a:gd name="T28" fmla="*/ 0 w 1760"/>
                  <a:gd name="T29" fmla="*/ 0 h 2120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1760" h="2120">
                    <a:moveTo>
                      <a:pt x="1122" y="0"/>
                    </a:moveTo>
                    <a:cubicBezTo>
                      <a:pt x="1760" y="0"/>
                      <a:pt x="1760" y="0"/>
                      <a:pt x="1760" y="0"/>
                    </a:cubicBezTo>
                    <a:cubicBezTo>
                      <a:pt x="1760" y="0"/>
                      <a:pt x="1625" y="74"/>
                      <a:pt x="1625" y="186"/>
                    </a:cubicBezTo>
                    <a:cubicBezTo>
                      <a:pt x="1625" y="186"/>
                      <a:pt x="1624" y="1444"/>
                      <a:pt x="1624" y="1444"/>
                    </a:cubicBezTo>
                    <a:cubicBezTo>
                      <a:pt x="1624" y="1959"/>
                      <a:pt x="1179" y="2120"/>
                      <a:pt x="882" y="2120"/>
                    </a:cubicBezTo>
                    <a:cubicBezTo>
                      <a:pt x="589" y="2120"/>
                      <a:pt x="131" y="1956"/>
                      <a:pt x="131" y="1444"/>
                    </a:cubicBezTo>
                    <a:cubicBezTo>
                      <a:pt x="130" y="186"/>
                      <a:pt x="130" y="186"/>
                      <a:pt x="130" y="186"/>
                    </a:cubicBezTo>
                    <a:cubicBezTo>
                      <a:pt x="130" y="73"/>
                      <a:pt x="0" y="0"/>
                      <a:pt x="0" y="0"/>
                    </a:cubicBezTo>
                    <a:cubicBezTo>
                      <a:pt x="645" y="0"/>
                      <a:pt x="645" y="0"/>
                      <a:pt x="645" y="0"/>
                    </a:cubicBezTo>
                    <a:cubicBezTo>
                      <a:pt x="645" y="0"/>
                      <a:pt x="496" y="73"/>
                      <a:pt x="496" y="186"/>
                    </a:cubicBezTo>
                    <a:cubicBezTo>
                      <a:pt x="495" y="1444"/>
                      <a:pt x="495" y="1444"/>
                      <a:pt x="495" y="1444"/>
                    </a:cubicBezTo>
                    <a:cubicBezTo>
                      <a:pt x="495" y="1710"/>
                      <a:pt x="673" y="1894"/>
                      <a:pt x="882" y="1895"/>
                    </a:cubicBezTo>
                    <a:cubicBezTo>
                      <a:pt x="1091" y="1896"/>
                      <a:pt x="1258" y="1708"/>
                      <a:pt x="1258" y="1444"/>
                    </a:cubicBezTo>
                    <a:cubicBezTo>
                      <a:pt x="1259" y="186"/>
                      <a:pt x="1259" y="186"/>
                      <a:pt x="1259" y="186"/>
                    </a:cubicBezTo>
                    <a:cubicBezTo>
                      <a:pt x="1259" y="73"/>
                      <a:pt x="1122" y="0"/>
                      <a:pt x="1122" y="0"/>
                    </a:cubicBezTo>
                    <a:close/>
                  </a:path>
                </a:pathLst>
              </a:custGeom>
              <a:solidFill>
                <a:srgbClr val="FF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 sz="1600"/>
              </a:p>
            </p:txBody>
          </p:sp>
          <p:sp>
            <p:nvSpPr>
              <p:cNvPr id="39" name="Freeform 104"/>
              <p:cNvSpPr>
                <a:spLocks/>
              </p:cNvSpPr>
              <p:nvPr/>
            </p:nvSpPr>
            <p:spPr bwMode="gray">
              <a:xfrm>
                <a:off x="3193" y="1162"/>
                <a:ext cx="268" cy="433"/>
              </a:xfrm>
              <a:custGeom>
                <a:avLst/>
                <a:gdLst>
                  <a:gd name="T0" fmla="*/ 0 w 1341"/>
                  <a:gd name="T1" fmla="*/ 0 h 2163"/>
                  <a:gd name="T2" fmla="*/ 0 w 1341"/>
                  <a:gd name="T3" fmla="*/ 0 h 2163"/>
                  <a:gd name="T4" fmla="*/ 0 w 1341"/>
                  <a:gd name="T5" fmla="*/ 0 h 2163"/>
                  <a:gd name="T6" fmla="*/ 0 w 1341"/>
                  <a:gd name="T7" fmla="*/ 0 h 2163"/>
                  <a:gd name="T8" fmla="*/ 0 w 1341"/>
                  <a:gd name="T9" fmla="*/ 0 h 2163"/>
                  <a:gd name="T10" fmla="*/ 0 w 1341"/>
                  <a:gd name="T11" fmla="*/ 1 h 2163"/>
                  <a:gd name="T12" fmla="*/ 0 w 1341"/>
                  <a:gd name="T13" fmla="*/ 1 h 2163"/>
                  <a:gd name="T14" fmla="*/ 0 w 1341"/>
                  <a:gd name="T15" fmla="*/ 1 h 2163"/>
                  <a:gd name="T16" fmla="*/ 0 w 1341"/>
                  <a:gd name="T17" fmla="*/ 1 h 2163"/>
                  <a:gd name="T18" fmla="*/ 0 w 1341"/>
                  <a:gd name="T19" fmla="*/ 1 h 2163"/>
                  <a:gd name="T20" fmla="*/ 0 w 1341"/>
                  <a:gd name="T21" fmla="*/ 0 h 2163"/>
                  <a:gd name="T22" fmla="*/ 0 w 1341"/>
                  <a:gd name="T23" fmla="*/ 0 h 2163"/>
                  <a:gd name="T24" fmla="*/ 0 w 1341"/>
                  <a:gd name="T25" fmla="*/ 0 h 2163"/>
                  <a:gd name="T26" fmla="*/ 0 w 1341"/>
                  <a:gd name="T27" fmla="*/ 0 h 2163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1341" h="2163">
                    <a:moveTo>
                      <a:pt x="1152" y="375"/>
                    </a:moveTo>
                    <a:cubicBezTo>
                      <a:pt x="1152" y="375"/>
                      <a:pt x="1062" y="217"/>
                      <a:pt x="800" y="216"/>
                    </a:cubicBezTo>
                    <a:cubicBezTo>
                      <a:pt x="539" y="215"/>
                      <a:pt x="396" y="353"/>
                      <a:pt x="396" y="531"/>
                    </a:cubicBezTo>
                    <a:cubicBezTo>
                      <a:pt x="395" y="733"/>
                      <a:pt x="547" y="809"/>
                      <a:pt x="782" y="922"/>
                    </a:cubicBezTo>
                    <a:cubicBezTo>
                      <a:pt x="1005" y="1029"/>
                      <a:pt x="1341" y="1177"/>
                      <a:pt x="1340" y="1550"/>
                    </a:cubicBezTo>
                    <a:cubicBezTo>
                      <a:pt x="1339" y="1884"/>
                      <a:pt x="1042" y="2163"/>
                      <a:pt x="511" y="2163"/>
                    </a:cubicBezTo>
                    <a:cubicBezTo>
                      <a:pt x="347" y="2163"/>
                      <a:pt x="121" y="2109"/>
                      <a:pt x="121" y="2109"/>
                    </a:cubicBezTo>
                    <a:cubicBezTo>
                      <a:pt x="0" y="1709"/>
                      <a:pt x="0" y="1709"/>
                      <a:pt x="0" y="1709"/>
                    </a:cubicBezTo>
                    <a:cubicBezTo>
                      <a:pt x="112" y="1819"/>
                      <a:pt x="312" y="1936"/>
                      <a:pt x="517" y="1936"/>
                    </a:cubicBezTo>
                    <a:cubicBezTo>
                      <a:pt x="729" y="1936"/>
                      <a:pt x="983" y="1805"/>
                      <a:pt x="983" y="1594"/>
                    </a:cubicBezTo>
                    <a:cubicBezTo>
                      <a:pt x="983" y="1187"/>
                      <a:pt x="36" y="1255"/>
                      <a:pt x="36" y="573"/>
                    </a:cubicBezTo>
                    <a:cubicBezTo>
                      <a:pt x="36" y="339"/>
                      <a:pt x="199" y="0"/>
                      <a:pt x="765" y="0"/>
                    </a:cubicBezTo>
                    <a:cubicBezTo>
                      <a:pt x="948" y="0"/>
                      <a:pt x="1153" y="53"/>
                      <a:pt x="1153" y="53"/>
                    </a:cubicBezTo>
                    <a:lnTo>
                      <a:pt x="1152" y="375"/>
                    </a:lnTo>
                    <a:close/>
                  </a:path>
                </a:pathLst>
              </a:custGeom>
              <a:solidFill>
                <a:srgbClr val="FF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 sz="16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4694625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コンテンツページ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252005" y="179944"/>
            <a:ext cx="7564437" cy="62620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ja-JP" altLang="en-US"/>
              <a:t>タイトル（</a:t>
            </a:r>
            <a:r>
              <a:rPr lang="en-US" altLang="ja-JP"/>
              <a:t>20</a:t>
            </a:r>
            <a:r>
              <a:rPr lang="ja-JP" altLang="en-US"/>
              <a:t>文字以内）</a:t>
            </a:r>
          </a:p>
        </p:txBody>
      </p:sp>
      <p:sp>
        <p:nvSpPr>
          <p:cNvPr id="13" name="フッター プレースホルダー 3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de-DE" altLang="ja-JP">
                <a:ea typeface="ＭＳ Ｐゴシック" charset="-128"/>
              </a:rPr>
              <a:t>Copyright 2021 FUJITSU LIMITED</a:t>
            </a:r>
          </a:p>
        </p:txBody>
      </p:sp>
      <p:sp>
        <p:nvSpPr>
          <p:cNvPr id="14" name="スライド番号プレースホルダー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pPr>
              <a:defRPr/>
            </a:pPr>
            <a:fld id="{0B5B02AC-72C7-48A8-B1FA-68CE81373FC9}" type="slidenum">
              <a:rPr lang="de-DE" altLang="ja-JP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 altLang="ja-JP">
              <a:solidFill>
                <a:srgbClr val="000000"/>
              </a:solidFill>
            </a:endParaRPr>
          </a:p>
        </p:txBody>
      </p:sp>
      <p:sp>
        <p:nvSpPr>
          <p:cNvPr id="16" name="AutoShape 11"/>
          <p:cNvSpPr>
            <a:spLocks noChangeAspect="1" noChangeArrowheads="1" noTextEdit="1"/>
          </p:cNvSpPr>
          <p:nvPr userDrawn="1"/>
        </p:nvSpPr>
        <p:spPr bwMode="gray">
          <a:xfrm>
            <a:off x="7607300" y="114269"/>
            <a:ext cx="1417638" cy="7919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ja-JP" altLang="en-US" sz="1600"/>
          </a:p>
        </p:txBody>
      </p:sp>
      <p:grpSp>
        <p:nvGrpSpPr>
          <p:cNvPr id="25" name="グループ化 24"/>
          <p:cNvGrpSpPr/>
          <p:nvPr userDrawn="1"/>
        </p:nvGrpSpPr>
        <p:grpSpPr bwMode="gray">
          <a:xfrm>
            <a:off x="8010525" y="249164"/>
            <a:ext cx="892176" cy="434841"/>
            <a:chOff x="8010525" y="249238"/>
            <a:chExt cx="892176" cy="434975"/>
          </a:xfrm>
        </p:grpSpPr>
        <p:sp>
          <p:nvSpPr>
            <p:cNvPr id="17" name="Freeform 13"/>
            <p:cNvSpPr>
              <a:spLocks/>
            </p:cNvSpPr>
            <p:nvPr userDrawn="1"/>
          </p:nvSpPr>
          <p:spPr bwMode="gray">
            <a:xfrm>
              <a:off x="8305800" y="249238"/>
              <a:ext cx="179388" cy="139700"/>
            </a:xfrm>
            <a:custGeom>
              <a:avLst/>
              <a:gdLst>
                <a:gd name="T0" fmla="*/ 961 w 2365"/>
                <a:gd name="T1" fmla="*/ 764 h 1825"/>
                <a:gd name="T2" fmla="*/ 599 w 2365"/>
                <a:gd name="T3" fmla="*/ 642 h 1825"/>
                <a:gd name="T4" fmla="*/ 1 w 2365"/>
                <a:gd name="T5" fmla="*/ 1235 h 1825"/>
                <a:gd name="T6" fmla="*/ 599 w 2365"/>
                <a:gd name="T7" fmla="*/ 1825 h 1825"/>
                <a:gd name="T8" fmla="*/ 1053 w 2365"/>
                <a:gd name="T9" fmla="*/ 1619 h 1825"/>
                <a:gd name="T10" fmla="*/ 1053 w 2365"/>
                <a:gd name="T11" fmla="*/ 1293 h 1825"/>
                <a:gd name="T12" fmla="*/ 771 w 2365"/>
                <a:gd name="T13" fmla="*/ 1568 h 1825"/>
                <a:gd name="T14" fmla="*/ 599 w 2365"/>
                <a:gd name="T15" fmla="*/ 1604 h 1825"/>
                <a:gd name="T16" fmla="*/ 225 w 2365"/>
                <a:gd name="T17" fmla="*/ 1235 h 1825"/>
                <a:gd name="T18" fmla="*/ 599 w 2365"/>
                <a:gd name="T19" fmla="*/ 863 h 1825"/>
                <a:gd name="T20" fmla="*/ 861 w 2365"/>
                <a:gd name="T21" fmla="*/ 972 h 1825"/>
                <a:gd name="T22" fmla="*/ 1093 w 2365"/>
                <a:gd name="T23" fmla="*/ 1239 h 1825"/>
                <a:gd name="T24" fmla="*/ 1630 w 2365"/>
                <a:gd name="T25" fmla="*/ 1473 h 1825"/>
                <a:gd name="T26" fmla="*/ 2365 w 2365"/>
                <a:gd name="T27" fmla="*/ 741 h 1825"/>
                <a:gd name="T28" fmla="*/ 1630 w 2365"/>
                <a:gd name="T29" fmla="*/ 0 h 1825"/>
                <a:gd name="T30" fmla="*/ 1053 w 2365"/>
                <a:gd name="T31" fmla="*/ 295 h 1825"/>
                <a:gd name="T32" fmla="*/ 1053 w 2365"/>
                <a:gd name="T33" fmla="*/ 735 h 1825"/>
                <a:gd name="T34" fmla="*/ 1630 w 2365"/>
                <a:gd name="T35" fmla="*/ 232 h 1825"/>
                <a:gd name="T36" fmla="*/ 2134 w 2365"/>
                <a:gd name="T37" fmla="*/ 741 h 1825"/>
                <a:gd name="T38" fmla="*/ 1630 w 2365"/>
                <a:gd name="T39" fmla="*/ 1245 h 1825"/>
                <a:gd name="T40" fmla="*/ 1303 w 2365"/>
                <a:gd name="T41" fmla="*/ 1125 h 1825"/>
                <a:gd name="T42" fmla="*/ 961 w 2365"/>
                <a:gd name="T43" fmla="*/ 764 h 18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65" h="1825">
                  <a:moveTo>
                    <a:pt x="961" y="764"/>
                  </a:moveTo>
                  <a:cubicBezTo>
                    <a:pt x="875" y="688"/>
                    <a:pt x="736" y="643"/>
                    <a:pt x="599" y="642"/>
                  </a:cubicBezTo>
                  <a:cubicBezTo>
                    <a:pt x="270" y="641"/>
                    <a:pt x="2" y="900"/>
                    <a:pt x="1" y="1235"/>
                  </a:cubicBezTo>
                  <a:cubicBezTo>
                    <a:pt x="0" y="1563"/>
                    <a:pt x="270" y="1824"/>
                    <a:pt x="599" y="1825"/>
                  </a:cubicBezTo>
                  <a:cubicBezTo>
                    <a:pt x="783" y="1825"/>
                    <a:pt x="943" y="1751"/>
                    <a:pt x="1053" y="1619"/>
                  </a:cubicBezTo>
                  <a:cubicBezTo>
                    <a:pt x="1053" y="1293"/>
                    <a:pt x="1053" y="1293"/>
                    <a:pt x="1053" y="1293"/>
                  </a:cubicBezTo>
                  <a:cubicBezTo>
                    <a:pt x="994" y="1394"/>
                    <a:pt x="877" y="1524"/>
                    <a:pt x="771" y="1568"/>
                  </a:cubicBezTo>
                  <a:cubicBezTo>
                    <a:pt x="717" y="1590"/>
                    <a:pt x="662" y="1604"/>
                    <a:pt x="599" y="1604"/>
                  </a:cubicBezTo>
                  <a:cubicBezTo>
                    <a:pt x="394" y="1604"/>
                    <a:pt x="225" y="1445"/>
                    <a:pt x="225" y="1235"/>
                  </a:cubicBezTo>
                  <a:cubicBezTo>
                    <a:pt x="225" y="1041"/>
                    <a:pt x="380" y="862"/>
                    <a:pt x="599" y="863"/>
                  </a:cubicBezTo>
                  <a:cubicBezTo>
                    <a:pt x="701" y="863"/>
                    <a:pt x="793" y="905"/>
                    <a:pt x="861" y="972"/>
                  </a:cubicBezTo>
                  <a:cubicBezTo>
                    <a:pt x="931" y="1040"/>
                    <a:pt x="1041" y="1183"/>
                    <a:pt x="1093" y="1239"/>
                  </a:cubicBezTo>
                  <a:cubicBezTo>
                    <a:pt x="1227" y="1383"/>
                    <a:pt x="1419" y="1473"/>
                    <a:pt x="1630" y="1473"/>
                  </a:cubicBezTo>
                  <a:cubicBezTo>
                    <a:pt x="2036" y="1474"/>
                    <a:pt x="2365" y="1146"/>
                    <a:pt x="2365" y="741"/>
                  </a:cubicBezTo>
                  <a:cubicBezTo>
                    <a:pt x="2365" y="336"/>
                    <a:pt x="2035" y="0"/>
                    <a:pt x="1630" y="0"/>
                  </a:cubicBezTo>
                  <a:cubicBezTo>
                    <a:pt x="1395" y="0"/>
                    <a:pt x="1187" y="122"/>
                    <a:pt x="1053" y="295"/>
                  </a:cubicBezTo>
                  <a:cubicBezTo>
                    <a:pt x="1053" y="735"/>
                    <a:pt x="1053" y="735"/>
                    <a:pt x="1053" y="735"/>
                  </a:cubicBezTo>
                  <a:cubicBezTo>
                    <a:pt x="1155" y="455"/>
                    <a:pt x="1340" y="232"/>
                    <a:pt x="1630" y="232"/>
                  </a:cubicBezTo>
                  <a:cubicBezTo>
                    <a:pt x="1909" y="232"/>
                    <a:pt x="2135" y="463"/>
                    <a:pt x="2134" y="741"/>
                  </a:cubicBezTo>
                  <a:cubicBezTo>
                    <a:pt x="2134" y="1020"/>
                    <a:pt x="1909" y="1246"/>
                    <a:pt x="1630" y="1245"/>
                  </a:cubicBezTo>
                  <a:cubicBezTo>
                    <a:pt x="1506" y="1244"/>
                    <a:pt x="1391" y="1199"/>
                    <a:pt x="1303" y="1125"/>
                  </a:cubicBezTo>
                  <a:cubicBezTo>
                    <a:pt x="1194" y="1040"/>
                    <a:pt x="1074" y="860"/>
                    <a:pt x="961" y="764"/>
                  </a:cubicBezTo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 sz="1600"/>
            </a:p>
          </p:txBody>
        </p:sp>
        <p:sp>
          <p:nvSpPr>
            <p:cNvPr id="18" name="Freeform 14"/>
            <p:cNvSpPr>
              <a:spLocks/>
            </p:cNvSpPr>
            <p:nvPr userDrawn="1"/>
          </p:nvSpPr>
          <p:spPr bwMode="gray">
            <a:xfrm>
              <a:off x="8010525" y="401638"/>
              <a:ext cx="123825" cy="201613"/>
            </a:xfrm>
            <a:custGeom>
              <a:avLst/>
              <a:gdLst>
                <a:gd name="T0" fmla="*/ 0 w 1624"/>
                <a:gd name="T1" fmla="*/ 0 h 2651"/>
                <a:gd name="T2" fmla="*/ 1624 w 1624"/>
                <a:gd name="T3" fmla="*/ 0 h 2651"/>
                <a:gd name="T4" fmla="*/ 1624 w 1624"/>
                <a:gd name="T5" fmla="*/ 452 h 2651"/>
                <a:gd name="T6" fmla="*/ 1365 w 1624"/>
                <a:gd name="T7" fmla="*/ 273 h 2651"/>
                <a:gd name="T8" fmla="*/ 613 w 1624"/>
                <a:gd name="T9" fmla="*/ 273 h 2651"/>
                <a:gd name="T10" fmla="*/ 613 w 1624"/>
                <a:gd name="T11" fmla="*/ 1053 h 2651"/>
                <a:gd name="T12" fmla="*/ 1428 w 1624"/>
                <a:gd name="T13" fmla="*/ 1053 h 2651"/>
                <a:gd name="T14" fmla="*/ 1428 w 1624"/>
                <a:gd name="T15" fmla="*/ 1467 h 2651"/>
                <a:gd name="T16" fmla="*/ 1205 w 1624"/>
                <a:gd name="T17" fmla="*/ 1335 h 2651"/>
                <a:gd name="T18" fmla="*/ 613 w 1624"/>
                <a:gd name="T19" fmla="*/ 1335 h 2651"/>
                <a:gd name="T20" fmla="*/ 613 w 1624"/>
                <a:gd name="T21" fmla="*/ 2401 h 2651"/>
                <a:gd name="T22" fmla="*/ 784 w 1624"/>
                <a:gd name="T23" fmla="*/ 2651 h 2651"/>
                <a:gd name="T24" fmla="*/ 11 w 1624"/>
                <a:gd name="T25" fmla="*/ 2651 h 2651"/>
                <a:gd name="T26" fmla="*/ 173 w 1624"/>
                <a:gd name="T27" fmla="*/ 2401 h 2651"/>
                <a:gd name="T28" fmla="*/ 173 w 1624"/>
                <a:gd name="T29" fmla="*/ 278 h 2651"/>
                <a:gd name="T30" fmla="*/ 0 w 1624"/>
                <a:gd name="T31" fmla="*/ 0 h 2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624" h="2651">
                  <a:moveTo>
                    <a:pt x="0" y="0"/>
                  </a:moveTo>
                  <a:cubicBezTo>
                    <a:pt x="1624" y="0"/>
                    <a:pt x="1624" y="0"/>
                    <a:pt x="1624" y="0"/>
                  </a:cubicBezTo>
                  <a:cubicBezTo>
                    <a:pt x="1624" y="452"/>
                    <a:pt x="1624" y="452"/>
                    <a:pt x="1624" y="452"/>
                  </a:cubicBezTo>
                  <a:cubicBezTo>
                    <a:pt x="1624" y="452"/>
                    <a:pt x="1540" y="274"/>
                    <a:pt x="1365" y="273"/>
                  </a:cubicBezTo>
                  <a:cubicBezTo>
                    <a:pt x="613" y="273"/>
                    <a:pt x="613" y="273"/>
                    <a:pt x="613" y="273"/>
                  </a:cubicBezTo>
                  <a:cubicBezTo>
                    <a:pt x="613" y="1053"/>
                    <a:pt x="613" y="1053"/>
                    <a:pt x="613" y="1053"/>
                  </a:cubicBezTo>
                  <a:cubicBezTo>
                    <a:pt x="1428" y="1053"/>
                    <a:pt x="1428" y="1053"/>
                    <a:pt x="1428" y="1053"/>
                  </a:cubicBezTo>
                  <a:cubicBezTo>
                    <a:pt x="1428" y="1467"/>
                    <a:pt x="1428" y="1467"/>
                    <a:pt x="1428" y="1467"/>
                  </a:cubicBezTo>
                  <a:cubicBezTo>
                    <a:pt x="1428" y="1467"/>
                    <a:pt x="1402" y="1335"/>
                    <a:pt x="1205" y="1335"/>
                  </a:cubicBezTo>
                  <a:cubicBezTo>
                    <a:pt x="613" y="1335"/>
                    <a:pt x="613" y="1335"/>
                    <a:pt x="613" y="1335"/>
                  </a:cubicBezTo>
                  <a:cubicBezTo>
                    <a:pt x="613" y="2401"/>
                    <a:pt x="613" y="2401"/>
                    <a:pt x="613" y="2401"/>
                  </a:cubicBezTo>
                  <a:cubicBezTo>
                    <a:pt x="613" y="2558"/>
                    <a:pt x="784" y="2651"/>
                    <a:pt x="784" y="2651"/>
                  </a:cubicBezTo>
                  <a:cubicBezTo>
                    <a:pt x="11" y="2651"/>
                    <a:pt x="11" y="2651"/>
                    <a:pt x="11" y="2651"/>
                  </a:cubicBezTo>
                  <a:cubicBezTo>
                    <a:pt x="11" y="2651"/>
                    <a:pt x="173" y="2569"/>
                    <a:pt x="173" y="2401"/>
                  </a:cubicBezTo>
                  <a:cubicBezTo>
                    <a:pt x="173" y="278"/>
                    <a:pt x="173" y="278"/>
                    <a:pt x="173" y="278"/>
                  </a:cubicBezTo>
                  <a:cubicBezTo>
                    <a:pt x="173" y="9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 sz="1600"/>
            </a:p>
          </p:txBody>
        </p:sp>
        <p:sp>
          <p:nvSpPr>
            <p:cNvPr id="19" name="Freeform 15"/>
            <p:cNvSpPr>
              <a:spLocks/>
            </p:cNvSpPr>
            <p:nvPr userDrawn="1"/>
          </p:nvSpPr>
          <p:spPr bwMode="gray">
            <a:xfrm>
              <a:off x="8304213" y="401638"/>
              <a:ext cx="80963" cy="282575"/>
            </a:xfrm>
            <a:custGeom>
              <a:avLst/>
              <a:gdLst>
                <a:gd name="T0" fmla="*/ 246 w 1072"/>
                <a:gd name="T1" fmla="*/ 0 h 3696"/>
                <a:gd name="T2" fmla="*/ 1072 w 1072"/>
                <a:gd name="T3" fmla="*/ 0 h 3696"/>
                <a:gd name="T4" fmla="*/ 887 w 1072"/>
                <a:gd name="T5" fmla="*/ 230 h 3696"/>
                <a:gd name="T6" fmla="*/ 887 w 1072"/>
                <a:gd name="T7" fmla="*/ 2717 h 3696"/>
                <a:gd name="T8" fmla="*/ 0 w 1072"/>
                <a:gd name="T9" fmla="*/ 3693 h 3696"/>
                <a:gd name="T10" fmla="*/ 423 w 1072"/>
                <a:gd name="T11" fmla="*/ 2717 h 3696"/>
                <a:gd name="T12" fmla="*/ 423 w 1072"/>
                <a:gd name="T13" fmla="*/ 230 h 3696"/>
                <a:gd name="T14" fmla="*/ 246 w 1072"/>
                <a:gd name="T15" fmla="*/ 0 h 36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72" h="3696">
                  <a:moveTo>
                    <a:pt x="246" y="0"/>
                  </a:moveTo>
                  <a:cubicBezTo>
                    <a:pt x="1072" y="0"/>
                    <a:pt x="1072" y="0"/>
                    <a:pt x="1072" y="0"/>
                  </a:cubicBezTo>
                  <a:cubicBezTo>
                    <a:pt x="1072" y="0"/>
                    <a:pt x="887" y="87"/>
                    <a:pt x="887" y="230"/>
                  </a:cubicBezTo>
                  <a:cubicBezTo>
                    <a:pt x="887" y="2717"/>
                    <a:pt x="887" y="2717"/>
                    <a:pt x="887" y="2717"/>
                  </a:cubicBezTo>
                  <a:cubicBezTo>
                    <a:pt x="887" y="3558"/>
                    <a:pt x="44" y="3696"/>
                    <a:pt x="0" y="3693"/>
                  </a:cubicBezTo>
                  <a:cubicBezTo>
                    <a:pt x="72" y="3647"/>
                    <a:pt x="422" y="3349"/>
                    <a:pt x="423" y="2717"/>
                  </a:cubicBezTo>
                  <a:cubicBezTo>
                    <a:pt x="423" y="230"/>
                    <a:pt x="423" y="230"/>
                    <a:pt x="423" y="230"/>
                  </a:cubicBezTo>
                  <a:cubicBezTo>
                    <a:pt x="424" y="96"/>
                    <a:pt x="246" y="0"/>
                    <a:pt x="246" y="0"/>
                  </a:cubicBez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 sz="1600"/>
            </a:p>
          </p:txBody>
        </p:sp>
        <p:sp>
          <p:nvSpPr>
            <p:cNvPr id="20" name="Freeform 16"/>
            <p:cNvSpPr>
              <a:spLocks/>
            </p:cNvSpPr>
            <p:nvPr userDrawn="1"/>
          </p:nvSpPr>
          <p:spPr bwMode="gray">
            <a:xfrm>
              <a:off x="8394700" y="401638"/>
              <a:ext cx="63500" cy="201613"/>
            </a:xfrm>
            <a:custGeom>
              <a:avLst/>
              <a:gdLst>
                <a:gd name="T0" fmla="*/ 0 w 828"/>
                <a:gd name="T1" fmla="*/ 0 h 2653"/>
                <a:gd name="T2" fmla="*/ 828 w 828"/>
                <a:gd name="T3" fmla="*/ 0 h 2653"/>
                <a:gd name="T4" fmla="*/ 645 w 828"/>
                <a:gd name="T5" fmla="*/ 235 h 2653"/>
                <a:gd name="T6" fmla="*/ 645 w 828"/>
                <a:gd name="T7" fmla="*/ 2401 h 2653"/>
                <a:gd name="T8" fmla="*/ 828 w 828"/>
                <a:gd name="T9" fmla="*/ 2653 h 2653"/>
                <a:gd name="T10" fmla="*/ 0 w 828"/>
                <a:gd name="T11" fmla="*/ 2653 h 2653"/>
                <a:gd name="T12" fmla="*/ 184 w 828"/>
                <a:gd name="T13" fmla="*/ 2401 h 2653"/>
                <a:gd name="T14" fmla="*/ 184 w 828"/>
                <a:gd name="T15" fmla="*/ 235 h 2653"/>
                <a:gd name="T16" fmla="*/ 0 w 828"/>
                <a:gd name="T17" fmla="*/ 0 h 26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28" h="2653">
                  <a:moveTo>
                    <a:pt x="0" y="0"/>
                  </a:moveTo>
                  <a:cubicBezTo>
                    <a:pt x="828" y="0"/>
                    <a:pt x="828" y="0"/>
                    <a:pt x="828" y="0"/>
                  </a:cubicBezTo>
                  <a:cubicBezTo>
                    <a:pt x="828" y="0"/>
                    <a:pt x="645" y="89"/>
                    <a:pt x="645" y="235"/>
                  </a:cubicBezTo>
                  <a:cubicBezTo>
                    <a:pt x="645" y="2401"/>
                    <a:pt x="645" y="2401"/>
                    <a:pt x="645" y="2401"/>
                  </a:cubicBezTo>
                  <a:cubicBezTo>
                    <a:pt x="645" y="2556"/>
                    <a:pt x="828" y="2653"/>
                    <a:pt x="828" y="2653"/>
                  </a:cubicBezTo>
                  <a:cubicBezTo>
                    <a:pt x="0" y="2653"/>
                    <a:pt x="0" y="2653"/>
                    <a:pt x="0" y="2653"/>
                  </a:cubicBezTo>
                  <a:cubicBezTo>
                    <a:pt x="0" y="2653"/>
                    <a:pt x="184" y="2557"/>
                    <a:pt x="184" y="2401"/>
                  </a:cubicBezTo>
                  <a:cubicBezTo>
                    <a:pt x="184" y="235"/>
                    <a:pt x="184" y="235"/>
                    <a:pt x="184" y="235"/>
                  </a:cubicBezTo>
                  <a:cubicBezTo>
                    <a:pt x="184" y="8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 sz="1600"/>
            </a:p>
          </p:txBody>
        </p:sp>
        <p:sp>
          <p:nvSpPr>
            <p:cNvPr id="21" name="Freeform 17"/>
            <p:cNvSpPr>
              <a:spLocks/>
            </p:cNvSpPr>
            <p:nvPr userDrawn="1"/>
          </p:nvSpPr>
          <p:spPr bwMode="gray">
            <a:xfrm>
              <a:off x="8458200" y="401638"/>
              <a:ext cx="150813" cy="201613"/>
            </a:xfrm>
            <a:custGeom>
              <a:avLst/>
              <a:gdLst>
                <a:gd name="T0" fmla="*/ 161 w 1984"/>
                <a:gd name="T1" fmla="*/ 0 h 2651"/>
                <a:gd name="T2" fmla="*/ 1984 w 1984"/>
                <a:gd name="T3" fmla="*/ 0 h 2651"/>
                <a:gd name="T4" fmla="*/ 1829 w 1984"/>
                <a:gd name="T5" fmla="*/ 482 h 2651"/>
                <a:gd name="T6" fmla="*/ 1607 w 1984"/>
                <a:gd name="T7" fmla="*/ 279 h 2651"/>
                <a:gd name="T8" fmla="*/ 1229 w 1984"/>
                <a:gd name="T9" fmla="*/ 279 h 2651"/>
                <a:gd name="T10" fmla="*/ 1229 w 1984"/>
                <a:gd name="T11" fmla="*/ 2401 h 2651"/>
                <a:gd name="T12" fmla="*/ 1407 w 1984"/>
                <a:gd name="T13" fmla="*/ 2651 h 2651"/>
                <a:gd name="T14" fmla="*/ 595 w 1984"/>
                <a:gd name="T15" fmla="*/ 2651 h 2651"/>
                <a:gd name="T16" fmla="*/ 771 w 1984"/>
                <a:gd name="T17" fmla="*/ 2401 h 2651"/>
                <a:gd name="T18" fmla="*/ 771 w 1984"/>
                <a:gd name="T19" fmla="*/ 279 h 2651"/>
                <a:gd name="T20" fmla="*/ 315 w 1984"/>
                <a:gd name="T21" fmla="*/ 279 h 2651"/>
                <a:gd name="T22" fmla="*/ 0 w 1984"/>
                <a:gd name="T23" fmla="*/ 522 h 2651"/>
                <a:gd name="T24" fmla="*/ 161 w 1984"/>
                <a:gd name="T25" fmla="*/ 0 h 2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84" h="2651">
                  <a:moveTo>
                    <a:pt x="161" y="0"/>
                  </a:moveTo>
                  <a:cubicBezTo>
                    <a:pt x="1984" y="0"/>
                    <a:pt x="1984" y="0"/>
                    <a:pt x="1984" y="0"/>
                  </a:cubicBezTo>
                  <a:cubicBezTo>
                    <a:pt x="1829" y="482"/>
                    <a:pt x="1829" y="482"/>
                    <a:pt x="1829" y="482"/>
                  </a:cubicBezTo>
                  <a:cubicBezTo>
                    <a:pt x="1829" y="482"/>
                    <a:pt x="1783" y="279"/>
                    <a:pt x="1607" y="279"/>
                  </a:cubicBezTo>
                  <a:cubicBezTo>
                    <a:pt x="1229" y="279"/>
                    <a:pt x="1229" y="279"/>
                    <a:pt x="1229" y="279"/>
                  </a:cubicBezTo>
                  <a:cubicBezTo>
                    <a:pt x="1229" y="2401"/>
                    <a:pt x="1229" y="2401"/>
                    <a:pt x="1229" y="2401"/>
                  </a:cubicBezTo>
                  <a:cubicBezTo>
                    <a:pt x="1229" y="2535"/>
                    <a:pt x="1407" y="2651"/>
                    <a:pt x="1407" y="2651"/>
                  </a:cubicBezTo>
                  <a:cubicBezTo>
                    <a:pt x="595" y="2651"/>
                    <a:pt x="595" y="2651"/>
                    <a:pt x="595" y="2651"/>
                  </a:cubicBezTo>
                  <a:cubicBezTo>
                    <a:pt x="595" y="2651"/>
                    <a:pt x="771" y="2547"/>
                    <a:pt x="771" y="2401"/>
                  </a:cubicBezTo>
                  <a:cubicBezTo>
                    <a:pt x="771" y="279"/>
                    <a:pt x="771" y="279"/>
                    <a:pt x="771" y="279"/>
                  </a:cubicBezTo>
                  <a:cubicBezTo>
                    <a:pt x="315" y="279"/>
                    <a:pt x="315" y="279"/>
                    <a:pt x="315" y="279"/>
                  </a:cubicBezTo>
                  <a:cubicBezTo>
                    <a:pt x="185" y="280"/>
                    <a:pt x="0" y="522"/>
                    <a:pt x="0" y="522"/>
                  </a:cubicBezTo>
                  <a:lnTo>
                    <a:pt x="161" y="0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 sz="1600"/>
            </a:p>
          </p:txBody>
        </p:sp>
        <p:sp>
          <p:nvSpPr>
            <p:cNvPr id="22" name="Freeform 18"/>
            <p:cNvSpPr>
              <a:spLocks/>
            </p:cNvSpPr>
            <p:nvPr userDrawn="1"/>
          </p:nvSpPr>
          <p:spPr bwMode="gray">
            <a:xfrm>
              <a:off x="8732838" y="401638"/>
              <a:ext cx="169863" cy="204788"/>
            </a:xfrm>
            <a:custGeom>
              <a:avLst/>
              <a:gdLst>
                <a:gd name="T0" fmla="*/ 1420 w 2219"/>
                <a:gd name="T1" fmla="*/ 0 h 2693"/>
                <a:gd name="T2" fmla="*/ 2219 w 2219"/>
                <a:gd name="T3" fmla="*/ 0 h 2693"/>
                <a:gd name="T4" fmla="*/ 2048 w 2219"/>
                <a:gd name="T5" fmla="*/ 234 h 2693"/>
                <a:gd name="T6" fmla="*/ 2048 w 2219"/>
                <a:gd name="T7" fmla="*/ 1840 h 2693"/>
                <a:gd name="T8" fmla="*/ 1131 w 2219"/>
                <a:gd name="T9" fmla="*/ 2693 h 2693"/>
                <a:gd name="T10" fmla="*/ 176 w 2219"/>
                <a:gd name="T11" fmla="*/ 1840 h 2693"/>
                <a:gd name="T12" fmla="*/ 176 w 2219"/>
                <a:gd name="T13" fmla="*/ 234 h 2693"/>
                <a:gd name="T14" fmla="*/ 0 w 2219"/>
                <a:gd name="T15" fmla="*/ 0 h 2693"/>
                <a:gd name="T16" fmla="*/ 821 w 2219"/>
                <a:gd name="T17" fmla="*/ 0 h 2693"/>
                <a:gd name="T18" fmla="*/ 638 w 2219"/>
                <a:gd name="T19" fmla="*/ 234 h 2693"/>
                <a:gd name="T20" fmla="*/ 638 w 2219"/>
                <a:gd name="T21" fmla="*/ 1840 h 2693"/>
                <a:gd name="T22" fmla="*/ 1131 w 2219"/>
                <a:gd name="T23" fmla="*/ 2406 h 2693"/>
                <a:gd name="T24" fmla="*/ 1601 w 2219"/>
                <a:gd name="T25" fmla="*/ 1840 h 2693"/>
                <a:gd name="T26" fmla="*/ 1601 w 2219"/>
                <a:gd name="T27" fmla="*/ 234 h 2693"/>
                <a:gd name="T28" fmla="*/ 1420 w 2219"/>
                <a:gd name="T29" fmla="*/ 0 h 26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219" h="2693">
                  <a:moveTo>
                    <a:pt x="1420" y="0"/>
                  </a:moveTo>
                  <a:cubicBezTo>
                    <a:pt x="2219" y="0"/>
                    <a:pt x="2219" y="0"/>
                    <a:pt x="2219" y="0"/>
                  </a:cubicBezTo>
                  <a:cubicBezTo>
                    <a:pt x="2219" y="0"/>
                    <a:pt x="2048" y="91"/>
                    <a:pt x="2048" y="234"/>
                  </a:cubicBezTo>
                  <a:cubicBezTo>
                    <a:pt x="2048" y="1840"/>
                    <a:pt x="2048" y="1840"/>
                    <a:pt x="2048" y="1840"/>
                  </a:cubicBezTo>
                  <a:cubicBezTo>
                    <a:pt x="2047" y="2492"/>
                    <a:pt x="1506" y="2693"/>
                    <a:pt x="1131" y="2693"/>
                  </a:cubicBezTo>
                  <a:cubicBezTo>
                    <a:pt x="759" y="2693"/>
                    <a:pt x="175" y="2490"/>
                    <a:pt x="176" y="1840"/>
                  </a:cubicBezTo>
                  <a:cubicBezTo>
                    <a:pt x="176" y="234"/>
                    <a:pt x="176" y="234"/>
                    <a:pt x="176" y="234"/>
                  </a:cubicBezTo>
                  <a:cubicBezTo>
                    <a:pt x="176" y="91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8" y="88"/>
                    <a:pt x="638" y="234"/>
                  </a:cubicBezTo>
                  <a:cubicBezTo>
                    <a:pt x="638" y="1840"/>
                    <a:pt x="638" y="1840"/>
                    <a:pt x="638" y="1840"/>
                  </a:cubicBezTo>
                  <a:cubicBezTo>
                    <a:pt x="638" y="2182"/>
                    <a:pt x="865" y="2406"/>
                    <a:pt x="1131" y="2406"/>
                  </a:cubicBezTo>
                  <a:cubicBezTo>
                    <a:pt x="1397" y="2406"/>
                    <a:pt x="1600" y="2173"/>
                    <a:pt x="1601" y="1840"/>
                  </a:cubicBezTo>
                  <a:cubicBezTo>
                    <a:pt x="1601" y="234"/>
                    <a:pt x="1601" y="234"/>
                    <a:pt x="1601" y="234"/>
                  </a:cubicBezTo>
                  <a:cubicBezTo>
                    <a:pt x="1601" y="91"/>
                    <a:pt x="1420" y="0"/>
                    <a:pt x="1420" y="0"/>
                  </a:cubicBez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 sz="1600"/>
            </a:p>
          </p:txBody>
        </p:sp>
        <p:sp>
          <p:nvSpPr>
            <p:cNvPr id="23" name="Freeform 19"/>
            <p:cNvSpPr>
              <a:spLocks/>
            </p:cNvSpPr>
            <p:nvPr userDrawn="1"/>
          </p:nvSpPr>
          <p:spPr bwMode="gray">
            <a:xfrm>
              <a:off x="8140700" y="401638"/>
              <a:ext cx="169863" cy="206375"/>
            </a:xfrm>
            <a:custGeom>
              <a:avLst/>
              <a:gdLst>
                <a:gd name="T0" fmla="*/ 1427 w 2240"/>
                <a:gd name="T1" fmla="*/ 0 h 2700"/>
                <a:gd name="T2" fmla="*/ 2240 w 2240"/>
                <a:gd name="T3" fmla="*/ 0 h 2700"/>
                <a:gd name="T4" fmla="*/ 2068 w 2240"/>
                <a:gd name="T5" fmla="*/ 237 h 2700"/>
                <a:gd name="T6" fmla="*/ 2067 w 2240"/>
                <a:gd name="T7" fmla="*/ 1838 h 2700"/>
                <a:gd name="T8" fmla="*/ 1122 w 2240"/>
                <a:gd name="T9" fmla="*/ 2700 h 2700"/>
                <a:gd name="T10" fmla="*/ 166 w 2240"/>
                <a:gd name="T11" fmla="*/ 1838 h 2700"/>
                <a:gd name="T12" fmla="*/ 166 w 2240"/>
                <a:gd name="T13" fmla="*/ 237 h 2700"/>
                <a:gd name="T14" fmla="*/ 0 w 2240"/>
                <a:gd name="T15" fmla="*/ 0 h 2700"/>
                <a:gd name="T16" fmla="*/ 821 w 2240"/>
                <a:gd name="T17" fmla="*/ 0 h 2700"/>
                <a:gd name="T18" fmla="*/ 631 w 2240"/>
                <a:gd name="T19" fmla="*/ 237 h 2700"/>
                <a:gd name="T20" fmla="*/ 630 w 2240"/>
                <a:gd name="T21" fmla="*/ 1838 h 2700"/>
                <a:gd name="T22" fmla="*/ 1122 w 2240"/>
                <a:gd name="T23" fmla="*/ 2413 h 2700"/>
                <a:gd name="T24" fmla="*/ 1602 w 2240"/>
                <a:gd name="T25" fmla="*/ 1838 h 2700"/>
                <a:gd name="T26" fmla="*/ 1603 w 2240"/>
                <a:gd name="T27" fmla="*/ 237 h 2700"/>
                <a:gd name="T28" fmla="*/ 1427 w 2240"/>
                <a:gd name="T29" fmla="*/ 0 h 27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240" h="2700">
                  <a:moveTo>
                    <a:pt x="1427" y="0"/>
                  </a:moveTo>
                  <a:cubicBezTo>
                    <a:pt x="2240" y="0"/>
                    <a:pt x="2240" y="0"/>
                    <a:pt x="2240" y="0"/>
                  </a:cubicBezTo>
                  <a:cubicBezTo>
                    <a:pt x="2240" y="0"/>
                    <a:pt x="2068" y="95"/>
                    <a:pt x="2068" y="237"/>
                  </a:cubicBezTo>
                  <a:cubicBezTo>
                    <a:pt x="2068" y="238"/>
                    <a:pt x="2067" y="1838"/>
                    <a:pt x="2067" y="1838"/>
                  </a:cubicBezTo>
                  <a:cubicBezTo>
                    <a:pt x="2067" y="2494"/>
                    <a:pt x="1501" y="2700"/>
                    <a:pt x="1122" y="2700"/>
                  </a:cubicBezTo>
                  <a:cubicBezTo>
                    <a:pt x="750" y="2700"/>
                    <a:pt x="166" y="2491"/>
                    <a:pt x="166" y="1838"/>
                  </a:cubicBezTo>
                  <a:cubicBezTo>
                    <a:pt x="166" y="237"/>
                    <a:pt x="166" y="237"/>
                    <a:pt x="166" y="237"/>
                  </a:cubicBezTo>
                  <a:cubicBezTo>
                    <a:pt x="166" y="94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1" y="94"/>
                    <a:pt x="631" y="237"/>
                  </a:cubicBezTo>
                  <a:cubicBezTo>
                    <a:pt x="630" y="1838"/>
                    <a:pt x="630" y="1838"/>
                    <a:pt x="630" y="1838"/>
                  </a:cubicBezTo>
                  <a:cubicBezTo>
                    <a:pt x="630" y="2178"/>
                    <a:pt x="856" y="2412"/>
                    <a:pt x="1122" y="2413"/>
                  </a:cubicBezTo>
                  <a:cubicBezTo>
                    <a:pt x="1388" y="2414"/>
                    <a:pt x="1602" y="2174"/>
                    <a:pt x="1602" y="1838"/>
                  </a:cubicBezTo>
                  <a:cubicBezTo>
                    <a:pt x="1603" y="237"/>
                    <a:pt x="1603" y="237"/>
                    <a:pt x="1603" y="237"/>
                  </a:cubicBezTo>
                  <a:cubicBezTo>
                    <a:pt x="1603" y="94"/>
                    <a:pt x="1427" y="0"/>
                    <a:pt x="1427" y="0"/>
                  </a:cubicBez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 sz="1600"/>
            </a:p>
          </p:txBody>
        </p:sp>
        <p:sp>
          <p:nvSpPr>
            <p:cNvPr id="24" name="Freeform 20"/>
            <p:cNvSpPr>
              <a:spLocks/>
            </p:cNvSpPr>
            <p:nvPr userDrawn="1"/>
          </p:nvSpPr>
          <p:spPr bwMode="gray">
            <a:xfrm>
              <a:off x="8602663" y="396875"/>
              <a:ext cx="130175" cy="211138"/>
            </a:xfrm>
            <a:custGeom>
              <a:avLst/>
              <a:gdLst>
                <a:gd name="T0" fmla="*/ 1467 w 1707"/>
                <a:gd name="T1" fmla="*/ 479 h 2755"/>
                <a:gd name="T2" fmla="*/ 1019 w 1707"/>
                <a:gd name="T3" fmla="*/ 276 h 2755"/>
                <a:gd name="T4" fmla="*/ 504 w 1707"/>
                <a:gd name="T5" fmla="*/ 677 h 2755"/>
                <a:gd name="T6" fmla="*/ 995 w 1707"/>
                <a:gd name="T7" fmla="*/ 1174 h 2755"/>
                <a:gd name="T8" fmla="*/ 1705 w 1707"/>
                <a:gd name="T9" fmla="*/ 1974 h 2755"/>
                <a:gd name="T10" fmla="*/ 651 w 1707"/>
                <a:gd name="T11" fmla="*/ 2755 h 2755"/>
                <a:gd name="T12" fmla="*/ 155 w 1707"/>
                <a:gd name="T13" fmla="*/ 2686 h 2755"/>
                <a:gd name="T14" fmla="*/ 0 w 1707"/>
                <a:gd name="T15" fmla="*/ 2177 h 2755"/>
                <a:gd name="T16" fmla="*/ 658 w 1707"/>
                <a:gd name="T17" fmla="*/ 2466 h 2755"/>
                <a:gd name="T18" fmla="*/ 1252 w 1707"/>
                <a:gd name="T19" fmla="*/ 2030 h 2755"/>
                <a:gd name="T20" fmla="*/ 46 w 1707"/>
                <a:gd name="T21" fmla="*/ 731 h 2755"/>
                <a:gd name="T22" fmla="*/ 973 w 1707"/>
                <a:gd name="T23" fmla="*/ 0 h 2755"/>
                <a:gd name="T24" fmla="*/ 1467 w 1707"/>
                <a:gd name="T25" fmla="*/ 69 h 2755"/>
                <a:gd name="T26" fmla="*/ 1467 w 1707"/>
                <a:gd name="T27" fmla="*/ 479 h 2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07" h="2755">
                  <a:moveTo>
                    <a:pt x="1467" y="479"/>
                  </a:moveTo>
                  <a:cubicBezTo>
                    <a:pt x="1467" y="479"/>
                    <a:pt x="1352" y="277"/>
                    <a:pt x="1019" y="276"/>
                  </a:cubicBezTo>
                  <a:cubicBezTo>
                    <a:pt x="686" y="275"/>
                    <a:pt x="505" y="450"/>
                    <a:pt x="504" y="677"/>
                  </a:cubicBezTo>
                  <a:cubicBezTo>
                    <a:pt x="503" y="934"/>
                    <a:pt x="696" y="1031"/>
                    <a:pt x="995" y="1174"/>
                  </a:cubicBezTo>
                  <a:cubicBezTo>
                    <a:pt x="1279" y="1311"/>
                    <a:pt x="1707" y="1499"/>
                    <a:pt x="1705" y="1974"/>
                  </a:cubicBezTo>
                  <a:cubicBezTo>
                    <a:pt x="1704" y="2399"/>
                    <a:pt x="1327" y="2755"/>
                    <a:pt x="651" y="2755"/>
                  </a:cubicBezTo>
                  <a:cubicBezTo>
                    <a:pt x="442" y="2754"/>
                    <a:pt x="155" y="2686"/>
                    <a:pt x="155" y="2686"/>
                  </a:cubicBezTo>
                  <a:cubicBezTo>
                    <a:pt x="0" y="2177"/>
                    <a:pt x="0" y="2177"/>
                    <a:pt x="0" y="2177"/>
                  </a:cubicBezTo>
                  <a:cubicBezTo>
                    <a:pt x="143" y="2316"/>
                    <a:pt x="397" y="2466"/>
                    <a:pt x="658" y="2466"/>
                  </a:cubicBezTo>
                  <a:cubicBezTo>
                    <a:pt x="929" y="2466"/>
                    <a:pt x="1252" y="2298"/>
                    <a:pt x="1252" y="2030"/>
                  </a:cubicBezTo>
                  <a:cubicBezTo>
                    <a:pt x="1252" y="1512"/>
                    <a:pt x="46" y="1598"/>
                    <a:pt x="46" y="731"/>
                  </a:cubicBezTo>
                  <a:cubicBezTo>
                    <a:pt x="46" y="433"/>
                    <a:pt x="254" y="0"/>
                    <a:pt x="973" y="0"/>
                  </a:cubicBezTo>
                  <a:cubicBezTo>
                    <a:pt x="1207" y="0"/>
                    <a:pt x="1467" y="69"/>
                    <a:pt x="1467" y="69"/>
                  </a:cubicBezTo>
                  <a:lnTo>
                    <a:pt x="1467" y="479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 sz="1600"/>
            </a:p>
          </p:txBody>
        </p:sp>
      </p:grpSp>
      <p:sp>
        <p:nvSpPr>
          <p:cNvPr id="26" name="コンテンツ プレースホルダー 2"/>
          <p:cNvSpPr>
            <a:spLocks noGrp="1"/>
          </p:cNvSpPr>
          <p:nvPr>
            <p:ph idx="1"/>
          </p:nvPr>
        </p:nvSpPr>
        <p:spPr>
          <a:xfrm>
            <a:off x="252005" y="845741"/>
            <a:ext cx="8645525" cy="374217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ja-JP" altLang="en-US" dirty="0"/>
            </a:lvl1pPr>
            <a:lvl2pPr>
              <a:defRPr lang="ja-JP" altLang="en-US" dirty="0"/>
            </a:lvl2pPr>
            <a:lvl3pPr>
              <a:defRPr lang="ja-JP" altLang="en-US" dirty="0">
                <a:ea typeface="Meiryo UI" panose="020B0604030504040204" pitchFamily="50" charset="-128"/>
              </a:defRPr>
            </a:lvl3pPr>
            <a:lvl4pPr>
              <a:defRPr lang="ja-JP" altLang="en-US" dirty="0">
                <a:ea typeface="Meiryo UI" panose="020B0604030504040204" pitchFamily="50" charset="-128"/>
              </a:defRPr>
            </a:lvl4pPr>
            <a:lvl5pPr>
              <a:defRPr lang="ja-JP" altLang="en-US" dirty="0"/>
            </a:lvl5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3806764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ection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図 14">
            <a:extLst>
              <a:ext uri="{FF2B5EF4-FFF2-40B4-BE49-F238E27FC236}">
                <a16:creationId xmlns:a16="http://schemas.microsoft.com/office/drawing/2014/main" id="{D112A58B-6135-49FE-9C7D-1017A0D39A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>
            <a:off x="1" y="0"/>
            <a:ext cx="9147692" cy="514557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34000" y="1116000"/>
            <a:ext cx="8280000" cy="1440000"/>
          </a:xfrm>
        </p:spPr>
        <p:txBody>
          <a:bodyPr anchor="b">
            <a:noAutofit/>
          </a:bodyPr>
          <a:lstStyle>
            <a:lvl1pPr algn="l">
              <a:defRPr sz="2560">
                <a:solidFill>
                  <a:schemeClr val="bg1"/>
                </a:solidFill>
              </a:defRPr>
            </a:lvl1pPr>
          </a:lstStyle>
          <a:p>
            <a:r>
              <a:rPr lang="ja-JP" altLang="en-US"/>
              <a:t>タイトルを入力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4000" y="2710800"/>
            <a:ext cx="8280000" cy="1447200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342900" indent="0" algn="ctr">
              <a:buNone/>
              <a:defRPr sz="1200"/>
            </a:lvl2pPr>
            <a:lvl3pPr marL="685800" indent="0" algn="ctr">
              <a:buNone/>
              <a:defRPr sz="1080"/>
            </a:lvl3pPr>
            <a:lvl4pPr marL="1028700" indent="0" algn="ctr">
              <a:buNone/>
              <a:defRPr sz="960"/>
            </a:lvl4pPr>
            <a:lvl5pPr marL="1371600" indent="0" algn="ctr">
              <a:buNone/>
              <a:defRPr sz="960"/>
            </a:lvl5pPr>
            <a:lvl6pPr marL="1714500" indent="0" algn="ctr">
              <a:buNone/>
              <a:defRPr sz="960"/>
            </a:lvl6pPr>
            <a:lvl7pPr marL="2057400" indent="0" algn="ctr">
              <a:buNone/>
              <a:defRPr sz="960"/>
            </a:lvl7pPr>
            <a:lvl8pPr marL="2400300" indent="0" algn="ctr">
              <a:buNone/>
              <a:defRPr sz="960"/>
            </a:lvl8pPr>
            <a:lvl9pPr marL="2743200" indent="0" algn="ctr">
              <a:buNone/>
              <a:defRPr sz="960"/>
            </a:lvl9pPr>
          </a:lstStyle>
          <a:p>
            <a:r>
              <a:rPr lang="ja-JP" altLang="en-US"/>
              <a:t>サブタイトルを入力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kumimoji="1" lang="en-US" altLang="ja-JP"/>
              <a:t>© 2021 Fujitsu Limited</a:t>
            </a:r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302000" y="4878000"/>
            <a:ext cx="540000" cy="122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D029D89-7B63-4C94-AD4D-2E4D6BB83637}" type="slidenum">
              <a:rPr kumimoji="1" lang="ja-JP" altLang="en-US" smtClean="0"/>
              <a:pPr/>
              <a:t>‹#›</a:t>
            </a:fld>
            <a:endParaRPr kumimoji="1" lang="ja-JP" altLang="en-US"/>
          </a:p>
        </p:txBody>
      </p:sp>
      <p:grpSp>
        <p:nvGrpSpPr>
          <p:cNvPr id="20" name="Group 22" descr="Fujitsu">
            <a:extLst>
              <a:ext uri="{FF2B5EF4-FFF2-40B4-BE49-F238E27FC236}">
                <a16:creationId xmlns:a16="http://schemas.microsoft.com/office/drawing/2014/main" id="{DDC40295-912F-4B75-825E-6A19D918735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940675" y="242808"/>
            <a:ext cx="968769" cy="472173"/>
            <a:chOff x="8012114" y="249161"/>
            <a:chExt cx="892174" cy="434841"/>
          </a:xfrm>
        </p:grpSpPr>
        <p:sp>
          <p:nvSpPr>
            <p:cNvPr id="21" name="Freeform 34">
              <a:extLst>
                <a:ext uri="{FF2B5EF4-FFF2-40B4-BE49-F238E27FC236}">
                  <a16:creationId xmlns:a16="http://schemas.microsoft.com/office/drawing/2014/main" id="{58651FFA-FC3B-4BF1-AE37-56C9BAC03808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307389" y="249161"/>
              <a:ext cx="179387" cy="139657"/>
            </a:xfrm>
            <a:custGeom>
              <a:avLst/>
              <a:gdLst>
                <a:gd name="T0" fmla="*/ 961 w 2365"/>
                <a:gd name="T1" fmla="*/ 764 h 1825"/>
                <a:gd name="T2" fmla="*/ 599 w 2365"/>
                <a:gd name="T3" fmla="*/ 642 h 1825"/>
                <a:gd name="T4" fmla="*/ 1 w 2365"/>
                <a:gd name="T5" fmla="*/ 1235 h 1825"/>
                <a:gd name="T6" fmla="*/ 599 w 2365"/>
                <a:gd name="T7" fmla="*/ 1825 h 1825"/>
                <a:gd name="T8" fmla="*/ 1053 w 2365"/>
                <a:gd name="T9" fmla="*/ 1619 h 1825"/>
                <a:gd name="T10" fmla="*/ 1053 w 2365"/>
                <a:gd name="T11" fmla="*/ 1293 h 1825"/>
                <a:gd name="T12" fmla="*/ 771 w 2365"/>
                <a:gd name="T13" fmla="*/ 1568 h 1825"/>
                <a:gd name="T14" fmla="*/ 599 w 2365"/>
                <a:gd name="T15" fmla="*/ 1604 h 1825"/>
                <a:gd name="T16" fmla="*/ 225 w 2365"/>
                <a:gd name="T17" fmla="*/ 1235 h 1825"/>
                <a:gd name="T18" fmla="*/ 599 w 2365"/>
                <a:gd name="T19" fmla="*/ 863 h 1825"/>
                <a:gd name="T20" fmla="*/ 861 w 2365"/>
                <a:gd name="T21" fmla="*/ 972 h 1825"/>
                <a:gd name="T22" fmla="*/ 1093 w 2365"/>
                <a:gd name="T23" fmla="*/ 1239 h 1825"/>
                <a:gd name="T24" fmla="*/ 1630 w 2365"/>
                <a:gd name="T25" fmla="*/ 1473 h 1825"/>
                <a:gd name="T26" fmla="*/ 2365 w 2365"/>
                <a:gd name="T27" fmla="*/ 741 h 1825"/>
                <a:gd name="T28" fmla="*/ 1630 w 2365"/>
                <a:gd name="T29" fmla="*/ 0 h 1825"/>
                <a:gd name="T30" fmla="*/ 1053 w 2365"/>
                <a:gd name="T31" fmla="*/ 295 h 1825"/>
                <a:gd name="T32" fmla="*/ 1053 w 2365"/>
                <a:gd name="T33" fmla="*/ 735 h 1825"/>
                <a:gd name="T34" fmla="*/ 1630 w 2365"/>
                <a:gd name="T35" fmla="*/ 232 h 1825"/>
                <a:gd name="T36" fmla="*/ 2134 w 2365"/>
                <a:gd name="T37" fmla="*/ 741 h 1825"/>
                <a:gd name="T38" fmla="*/ 1630 w 2365"/>
                <a:gd name="T39" fmla="*/ 1245 h 1825"/>
                <a:gd name="T40" fmla="*/ 1303 w 2365"/>
                <a:gd name="T41" fmla="*/ 1125 h 1825"/>
                <a:gd name="T42" fmla="*/ 961 w 2365"/>
                <a:gd name="T43" fmla="*/ 764 h 18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65" h="1825">
                  <a:moveTo>
                    <a:pt x="961" y="764"/>
                  </a:moveTo>
                  <a:cubicBezTo>
                    <a:pt x="875" y="688"/>
                    <a:pt x="736" y="643"/>
                    <a:pt x="599" y="642"/>
                  </a:cubicBezTo>
                  <a:cubicBezTo>
                    <a:pt x="270" y="641"/>
                    <a:pt x="2" y="900"/>
                    <a:pt x="1" y="1235"/>
                  </a:cubicBezTo>
                  <a:cubicBezTo>
                    <a:pt x="0" y="1563"/>
                    <a:pt x="270" y="1824"/>
                    <a:pt x="599" y="1825"/>
                  </a:cubicBezTo>
                  <a:cubicBezTo>
                    <a:pt x="783" y="1825"/>
                    <a:pt x="943" y="1751"/>
                    <a:pt x="1053" y="1619"/>
                  </a:cubicBezTo>
                  <a:cubicBezTo>
                    <a:pt x="1053" y="1293"/>
                    <a:pt x="1053" y="1293"/>
                    <a:pt x="1053" y="1293"/>
                  </a:cubicBezTo>
                  <a:cubicBezTo>
                    <a:pt x="994" y="1394"/>
                    <a:pt x="877" y="1524"/>
                    <a:pt x="771" y="1568"/>
                  </a:cubicBezTo>
                  <a:cubicBezTo>
                    <a:pt x="717" y="1590"/>
                    <a:pt x="662" y="1604"/>
                    <a:pt x="599" y="1604"/>
                  </a:cubicBezTo>
                  <a:cubicBezTo>
                    <a:pt x="394" y="1604"/>
                    <a:pt x="225" y="1445"/>
                    <a:pt x="225" y="1235"/>
                  </a:cubicBezTo>
                  <a:cubicBezTo>
                    <a:pt x="225" y="1041"/>
                    <a:pt x="380" y="862"/>
                    <a:pt x="599" y="863"/>
                  </a:cubicBezTo>
                  <a:cubicBezTo>
                    <a:pt x="701" y="863"/>
                    <a:pt x="793" y="905"/>
                    <a:pt x="861" y="972"/>
                  </a:cubicBezTo>
                  <a:cubicBezTo>
                    <a:pt x="931" y="1040"/>
                    <a:pt x="1041" y="1183"/>
                    <a:pt x="1093" y="1239"/>
                  </a:cubicBezTo>
                  <a:cubicBezTo>
                    <a:pt x="1227" y="1383"/>
                    <a:pt x="1419" y="1473"/>
                    <a:pt x="1630" y="1473"/>
                  </a:cubicBezTo>
                  <a:cubicBezTo>
                    <a:pt x="2036" y="1474"/>
                    <a:pt x="2365" y="1146"/>
                    <a:pt x="2365" y="741"/>
                  </a:cubicBezTo>
                  <a:cubicBezTo>
                    <a:pt x="2365" y="336"/>
                    <a:pt x="2035" y="0"/>
                    <a:pt x="1630" y="0"/>
                  </a:cubicBezTo>
                  <a:cubicBezTo>
                    <a:pt x="1395" y="0"/>
                    <a:pt x="1187" y="122"/>
                    <a:pt x="1053" y="295"/>
                  </a:cubicBezTo>
                  <a:cubicBezTo>
                    <a:pt x="1053" y="735"/>
                    <a:pt x="1053" y="735"/>
                    <a:pt x="1053" y="735"/>
                  </a:cubicBezTo>
                  <a:cubicBezTo>
                    <a:pt x="1155" y="455"/>
                    <a:pt x="1340" y="232"/>
                    <a:pt x="1630" y="232"/>
                  </a:cubicBezTo>
                  <a:cubicBezTo>
                    <a:pt x="1909" y="232"/>
                    <a:pt x="2135" y="463"/>
                    <a:pt x="2134" y="741"/>
                  </a:cubicBezTo>
                  <a:cubicBezTo>
                    <a:pt x="2134" y="1020"/>
                    <a:pt x="1909" y="1246"/>
                    <a:pt x="1630" y="1245"/>
                  </a:cubicBezTo>
                  <a:cubicBezTo>
                    <a:pt x="1506" y="1244"/>
                    <a:pt x="1391" y="1199"/>
                    <a:pt x="1303" y="1125"/>
                  </a:cubicBezTo>
                  <a:cubicBezTo>
                    <a:pt x="1194" y="1040"/>
                    <a:pt x="1074" y="860"/>
                    <a:pt x="961" y="76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2" name="Freeform 35">
              <a:extLst>
                <a:ext uri="{FF2B5EF4-FFF2-40B4-BE49-F238E27FC236}">
                  <a16:creationId xmlns:a16="http://schemas.microsoft.com/office/drawing/2014/main" id="{F38D1057-B75F-4A54-AF90-A8D57DDB5EA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012114" y="401514"/>
              <a:ext cx="123825" cy="201551"/>
            </a:xfrm>
            <a:custGeom>
              <a:avLst/>
              <a:gdLst>
                <a:gd name="T0" fmla="*/ 0 w 1624"/>
                <a:gd name="T1" fmla="*/ 0 h 2651"/>
                <a:gd name="T2" fmla="*/ 1624 w 1624"/>
                <a:gd name="T3" fmla="*/ 0 h 2651"/>
                <a:gd name="T4" fmla="*/ 1624 w 1624"/>
                <a:gd name="T5" fmla="*/ 452 h 2651"/>
                <a:gd name="T6" fmla="*/ 1365 w 1624"/>
                <a:gd name="T7" fmla="*/ 273 h 2651"/>
                <a:gd name="T8" fmla="*/ 613 w 1624"/>
                <a:gd name="T9" fmla="*/ 273 h 2651"/>
                <a:gd name="T10" fmla="*/ 613 w 1624"/>
                <a:gd name="T11" fmla="*/ 1053 h 2651"/>
                <a:gd name="T12" fmla="*/ 1428 w 1624"/>
                <a:gd name="T13" fmla="*/ 1053 h 2651"/>
                <a:gd name="T14" fmla="*/ 1428 w 1624"/>
                <a:gd name="T15" fmla="*/ 1467 h 2651"/>
                <a:gd name="T16" fmla="*/ 1205 w 1624"/>
                <a:gd name="T17" fmla="*/ 1335 h 2651"/>
                <a:gd name="T18" fmla="*/ 613 w 1624"/>
                <a:gd name="T19" fmla="*/ 1335 h 2651"/>
                <a:gd name="T20" fmla="*/ 613 w 1624"/>
                <a:gd name="T21" fmla="*/ 2401 h 2651"/>
                <a:gd name="T22" fmla="*/ 784 w 1624"/>
                <a:gd name="T23" fmla="*/ 2651 h 2651"/>
                <a:gd name="T24" fmla="*/ 11 w 1624"/>
                <a:gd name="T25" fmla="*/ 2651 h 2651"/>
                <a:gd name="T26" fmla="*/ 173 w 1624"/>
                <a:gd name="T27" fmla="*/ 2401 h 2651"/>
                <a:gd name="T28" fmla="*/ 173 w 1624"/>
                <a:gd name="T29" fmla="*/ 278 h 2651"/>
                <a:gd name="T30" fmla="*/ 0 w 1624"/>
                <a:gd name="T31" fmla="*/ 0 h 2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624" h="2651">
                  <a:moveTo>
                    <a:pt x="0" y="0"/>
                  </a:moveTo>
                  <a:cubicBezTo>
                    <a:pt x="1624" y="0"/>
                    <a:pt x="1624" y="0"/>
                    <a:pt x="1624" y="0"/>
                  </a:cubicBezTo>
                  <a:cubicBezTo>
                    <a:pt x="1624" y="452"/>
                    <a:pt x="1624" y="452"/>
                    <a:pt x="1624" y="452"/>
                  </a:cubicBezTo>
                  <a:cubicBezTo>
                    <a:pt x="1624" y="452"/>
                    <a:pt x="1540" y="274"/>
                    <a:pt x="1365" y="273"/>
                  </a:cubicBezTo>
                  <a:cubicBezTo>
                    <a:pt x="613" y="273"/>
                    <a:pt x="613" y="273"/>
                    <a:pt x="613" y="273"/>
                  </a:cubicBezTo>
                  <a:cubicBezTo>
                    <a:pt x="613" y="1053"/>
                    <a:pt x="613" y="1053"/>
                    <a:pt x="613" y="1053"/>
                  </a:cubicBezTo>
                  <a:cubicBezTo>
                    <a:pt x="1428" y="1053"/>
                    <a:pt x="1428" y="1053"/>
                    <a:pt x="1428" y="1053"/>
                  </a:cubicBezTo>
                  <a:cubicBezTo>
                    <a:pt x="1428" y="1467"/>
                    <a:pt x="1428" y="1467"/>
                    <a:pt x="1428" y="1467"/>
                  </a:cubicBezTo>
                  <a:cubicBezTo>
                    <a:pt x="1428" y="1467"/>
                    <a:pt x="1402" y="1335"/>
                    <a:pt x="1205" y="1335"/>
                  </a:cubicBezTo>
                  <a:cubicBezTo>
                    <a:pt x="613" y="1335"/>
                    <a:pt x="613" y="1335"/>
                    <a:pt x="613" y="1335"/>
                  </a:cubicBezTo>
                  <a:cubicBezTo>
                    <a:pt x="613" y="2401"/>
                    <a:pt x="613" y="2401"/>
                    <a:pt x="613" y="2401"/>
                  </a:cubicBezTo>
                  <a:cubicBezTo>
                    <a:pt x="613" y="2558"/>
                    <a:pt x="784" y="2651"/>
                    <a:pt x="784" y="2651"/>
                  </a:cubicBezTo>
                  <a:cubicBezTo>
                    <a:pt x="11" y="2651"/>
                    <a:pt x="11" y="2651"/>
                    <a:pt x="11" y="2651"/>
                  </a:cubicBezTo>
                  <a:cubicBezTo>
                    <a:pt x="11" y="2651"/>
                    <a:pt x="173" y="2569"/>
                    <a:pt x="173" y="2401"/>
                  </a:cubicBezTo>
                  <a:cubicBezTo>
                    <a:pt x="173" y="278"/>
                    <a:pt x="173" y="278"/>
                    <a:pt x="173" y="278"/>
                  </a:cubicBezTo>
                  <a:cubicBezTo>
                    <a:pt x="173" y="9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33" name="Freeform 36">
              <a:extLst>
                <a:ext uri="{FF2B5EF4-FFF2-40B4-BE49-F238E27FC236}">
                  <a16:creationId xmlns:a16="http://schemas.microsoft.com/office/drawing/2014/main" id="{0FA8FF41-1874-4F27-9ACB-8F9DD0AC90F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305801" y="401514"/>
              <a:ext cx="80962" cy="282488"/>
            </a:xfrm>
            <a:custGeom>
              <a:avLst/>
              <a:gdLst>
                <a:gd name="T0" fmla="*/ 246 w 1072"/>
                <a:gd name="T1" fmla="*/ 0 h 3696"/>
                <a:gd name="T2" fmla="*/ 1072 w 1072"/>
                <a:gd name="T3" fmla="*/ 0 h 3696"/>
                <a:gd name="T4" fmla="*/ 887 w 1072"/>
                <a:gd name="T5" fmla="*/ 230 h 3696"/>
                <a:gd name="T6" fmla="*/ 887 w 1072"/>
                <a:gd name="T7" fmla="*/ 2717 h 3696"/>
                <a:gd name="T8" fmla="*/ 0 w 1072"/>
                <a:gd name="T9" fmla="*/ 3693 h 3696"/>
                <a:gd name="T10" fmla="*/ 423 w 1072"/>
                <a:gd name="T11" fmla="*/ 2717 h 3696"/>
                <a:gd name="T12" fmla="*/ 423 w 1072"/>
                <a:gd name="T13" fmla="*/ 230 h 3696"/>
                <a:gd name="T14" fmla="*/ 246 w 1072"/>
                <a:gd name="T15" fmla="*/ 0 h 36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72" h="3696">
                  <a:moveTo>
                    <a:pt x="246" y="0"/>
                  </a:moveTo>
                  <a:cubicBezTo>
                    <a:pt x="1072" y="0"/>
                    <a:pt x="1072" y="0"/>
                    <a:pt x="1072" y="0"/>
                  </a:cubicBezTo>
                  <a:cubicBezTo>
                    <a:pt x="1072" y="0"/>
                    <a:pt x="887" y="87"/>
                    <a:pt x="887" y="230"/>
                  </a:cubicBezTo>
                  <a:cubicBezTo>
                    <a:pt x="887" y="2717"/>
                    <a:pt x="887" y="2717"/>
                    <a:pt x="887" y="2717"/>
                  </a:cubicBezTo>
                  <a:cubicBezTo>
                    <a:pt x="887" y="3558"/>
                    <a:pt x="44" y="3696"/>
                    <a:pt x="0" y="3693"/>
                  </a:cubicBezTo>
                  <a:cubicBezTo>
                    <a:pt x="72" y="3647"/>
                    <a:pt x="422" y="3349"/>
                    <a:pt x="423" y="2717"/>
                  </a:cubicBezTo>
                  <a:cubicBezTo>
                    <a:pt x="423" y="230"/>
                    <a:pt x="423" y="230"/>
                    <a:pt x="423" y="230"/>
                  </a:cubicBezTo>
                  <a:cubicBezTo>
                    <a:pt x="424" y="96"/>
                    <a:pt x="246" y="0"/>
                    <a:pt x="24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34" name="Freeform 37">
              <a:extLst>
                <a:ext uri="{FF2B5EF4-FFF2-40B4-BE49-F238E27FC236}">
                  <a16:creationId xmlns:a16="http://schemas.microsoft.com/office/drawing/2014/main" id="{50E67408-B338-4449-B662-76E98D8E5C1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396289" y="401514"/>
              <a:ext cx="63500" cy="201551"/>
            </a:xfrm>
            <a:custGeom>
              <a:avLst/>
              <a:gdLst>
                <a:gd name="T0" fmla="*/ 0 w 828"/>
                <a:gd name="T1" fmla="*/ 0 h 2653"/>
                <a:gd name="T2" fmla="*/ 828 w 828"/>
                <a:gd name="T3" fmla="*/ 0 h 2653"/>
                <a:gd name="T4" fmla="*/ 645 w 828"/>
                <a:gd name="T5" fmla="*/ 235 h 2653"/>
                <a:gd name="T6" fmla="*/ 645 w 828"/>
                <a:gd name="T7" fmla="*/ 2401 h 2653"/>
                <a:gd name="T8" fmla="*/ 828 w 828"/>
                <a:gd name="T9" fmla="*/ 2653 h 2653"/>
                <a:gd name="T10" fmla="*/ 0 w 828"/>
                <a:gd name="T11" fmla="*/ 2653 h 2653"/>
                <a:gd name="T12" fmla="*/ 184 w 828"/>
                <a:gd name="T13" fmla="*/ 2401 h 2653"/>
                <a:gd name="T14" fmla="*/ 184 w 828"/>
                <a:gd name="T15" fmla="*/ 235 h 2653"/>
                <a:gd name="T16" fmla="*/ 0 w 828"/>
                <a:gd name="T17" fmla="*/ 0 h 26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28" h="2653">
                  <a:moveTo>
                    <a:pt x="0" y="0"/>
                  </a:moveTo>
                  <a:cubicBezTo>
                    <a:pt x="828" y="0"/>
                    <a:pt x="828" y="0"/>
                    <a:pt x="828" y="0"/>
                  </a:cubicBezTo>
                  <a:cubicBezTo>
                    <a:pt x="828" y="0"/>
                    <a:pt x="645" y="89"/>
                    <a:pt x="645" y="235"/>
                  </a:cubicBezTo>
                  <a:cubicBezTo>
                    <a:pt x="645" y="2401"/>
                    <a:pt x="645" y="2401"/>
                    <a:pt x="645" y="2401"/>
                  </a:cubicBezTo>
                  <a:cubicBezTo>
                    <a:pt x="645" y="2556"/>
                    <a:pt x="828" y="2653"/>
                    <a:pt x="828" y="2653"/>
                  </a:cubicBezTo>
                  <a:cubicBezTo>
                    <a:pt x="0" y="2653"/>
                    <a:pt x="0" y="2653"/>
                    <a:pt x="0" y="2653"/>
                  </a:cubicBezTo>
                  <a:cubicBezTo>
                    <a:pt x="0" y="2653"/>
                    <a:pt x="184" y="2557"/>
                    <a:pt x="184" y="2401"/>
                  </a:cubicBezTo>
                  <a:cubicBezTo>
                    <a:pt x="184" y="235"/>
                    <a:pt x="184" y="235"/>
                    <a:pt x="184" y="235"/>
                  </a:cubicBezTo>
                  <a:cubicBezTo>
                    <a:pt x="184" y="8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35" name="Freeform 38">
              <a:extLst>
                <a:ext uri="{FF2B5EF4-FFF2-40B4-BE49-F238E27FC236}">
                  <a16:creationId xmlns:a16="http://schemas.microsoft.com/office/drawing/2014/main" id="{4AC7696B-9860-489B-BE9B-00D46469390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459789" y="401514"/>
              <a:ext cx="150812" cy="201551"/>
            </a:xfrm>
            <a:custGeom>
              <a:avLst/>
              <a:gdLst>
                <a:gd name="T0" fmla="*/ 161 w 1984"/>
                <a:gd name="T1" fmla="*/ 0 h 2651"/>
                <a:gd name="T2" fmla="*/ 1984 w 1984"/>
                <a:gd name="T3" fmla="*/ 0 h 2651"/>
                <a:gd name="T4" fmla="*/ 1829 w 1984"/>
                <a:gd name="T5" fmla="*/ 482 h 2651"/>
                <a:gd name="T6" fmla="*/ 1607 w 1984"/>
                <a:gd name="T7" fmla="*/ 279 h 2651"/>
                <a:gd name="T8" fmla="*/ 1229 w 1984"/>
                <a:gd name="T9" fmla="*/ 279 h 2651"/>
                <a:gd name="T10" fmla="*/ 1229 w 1984"/>
                <a:gd name="T11" fmla="*/ 2401 h 2651"/>
                <a:gd name="T12" fmla="*/ 1407 w 1984"/>
                <a:gd name="T13" fmla="*/ 2651 h 2651"/>
                <a:gd name="T14" fmla="*/ 595 w 1984"/>
                <a:gd name="T15" fmla="*/ 2651 h 2651"/>
                <a:gd name="T16" fmla="*/ 771 w 1984"/>
                <a:gd name="T17" fmla="*/ 2401 h 2651"/>
                <a:gd name="T18" fmla="*/ 771 w 1984"/>
                <a:gd name="T19" fmla="*/ 279 h 2651"/>
                <a:gd name="T20" fmla="*/ 315 w 1984"/>
                <a:gd name="T21" fmla="*/ 279 h 2651"/>
                <a:gd name="T22" fmla="*/ 0 w 1984"/>
                <a:gd name="T23" fmla="*/ 522 h 2651"/>
                <a:gd name="T24" fmla="*/ 161 w 1984"/>
                <a:gd name="T25" fmla="*/ 0 h 2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84" h="2651">
                  <a:moveTo>
                    <a:pt x="161" y="0"/>
                  </a:moveTo>
                  <a:cubicBezTo>
                    <a:pt x="1984" y="0"/>
                    <a:pt x="1984" y="0"/>
                    <a:pt x="1984" y="0"/>
                  </a:cubicBezTo>
                  <a:cubicBezTo>
                    <a:pt x="1829" y="482"/>
                    <a:pt x="1829" y="482"/>
                    <a:pt x="1829" y="482"/>
                  </a:cubicBezTo>
                  <a:cubicBezTo>
                    <a:pt x="1829" y="482"/>
                    <a:pt x="1783" y="279"/>
                    <a:pt x="1607" y="279"/>
                  </a:cubicBezTo>
                  <a:cubicBezTo>
                    <a:pt x="1229" y="279"/>
                    <a:pt x="1229" y="279"/>
                    <a:pt x="1229" y="279"/>
                  </a:cubicBezTo>
                  <a:cubicBezTo>
                    <a:pt x="1229" y="2401"/>
                    <a:pt x="1229" y="2401"/>
                    <a:pt x="1229" y="2401"/>
                  </a:cubicBezTo>
                  <a:cubicBezTo>
                    <a:pt x="1229" y="2535"/>
                    <a:pt x="1407" y="2651"/>
                    <a:pt x="1407" y="2651"/>
                  </a:cubicBezTo>
                  <a:cubicBezTo>
                    <a:pt x="595" y="2651"/>
                    <a:pt x="595" y="2651"/>
                    <a:pt x="595" y="2651"/>
                  </a:cubicBezTo>
                  <a:cubicBezTo>
                    <a:pt x="595" y="2651"/>
                    <a:pt x="771" y="2547"/>
                    <a:pt x="771" y="2401"/>
                  </a:cubicBezTo>
                  <a:cubicBezTo>
                    <a:pt x="771" y="279"/>
                    <a:pt x="771" y="279"/>
                    <a:pt x="771" y="279"/>
                  </a:cubicBezTo>
                  <a:cubicBezTo>
                    <a:pt x="315" y="279"/>
                    <a:pt x="315" y="279"/>
                    <a:pt x="315" y="279"/>
                  </a:cubicBezTo>
                  <a:cubicBezTo>
                    <a:pt x="185" y="280"/>
                    <a:pt x="0" y="522"/>
                    <a:pt x="0" y="522"/>
                  </a:cubicBezTo>
                  <a:lnTo>
                    <a:pt x="16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36" name="Freeform 39">
              <a:extLst>
                <a:ext uri="{FF2B5EF4-FFF2-40B4-BE49-F238E27FC236}">
                  <a16:creationId xmlns:a16="http://schemas.microsoft.com/office/drawing/2014/main" id="{CDE404E4-3DFC-433A-8E05-E73F0F493EE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734426" y="401514"/>
              <a:ext cx="169862" cy="204725"/>
            </a:xfrm>
            <a:custGeom>
              <a:avLst/>
              <a:gdLst>
                <a:gd name="T0" fmla="*/ 1420 w 2219"/>
                <a:gd name="T1" fmla="*/ 0 h 2693"/>
                <a:gd name="T2" fmla="*/ 2219 w 2219"/>
                <a:gd name="T3" fmla="*/ 0 h 2693"/>
                <a:gd name="T4" fmla="*/ 2048 w 2219"/>
                <a:gd name="T5" fmla="*/ 234 h 2693"/>
                <a:gd name="T6" fmla="*/ 2048 w 2219"/>
                <a:gd name="T7" fmla="*/ 1840 h 2693"/>
                <a:gd name="T8" fmla="*/ 1131 w 2219"/>
                <a:gd name="T9" fmla="*/ 2693 h 2693"/>
                <a:gd name="T10" fmla="*/ 176 w 2219"/>
                <a:gd name="T11" fmla="*/ 1840 h 2693"/>
                <a:gd name="T12" fmla="*/ 176 w 2219"/>
                <a:gd name="T13" fmla="*/ 234 h 2693"/>
                <a:gd name="T14" fmla="*/ 0 w 2219"/>
                <a:gd name="T15" fmla="*/ 0 h 2693"/>
                <a:gd name="T16" fmla="*/ 821 w 2219"/>
                <a:gd name="T17" fmla="*/ 0 h 2693"/>
                <a:gd name="T18" fmla="*/ 638 w 2219"/>
                <a:gd name="T19" fmla="*/ 234 h 2693"/>
                <a:gd name="T20" fmla="*/ 638 w 2219"/>
                <a:gd name="T21" fmla="*/ 1840 h 2693"/>
                <a:gd name="T22" fmla="*/ 1131 w 2219"/>
                <a:gd name="T23" fmla="*/ 2406 h 2693"/>
                <a:gd name="T24" fmla="*/ 1601 w 2219"/>
                <a:gd name="T25" fmla="*/ 1840 h 2693"/>
                <a:gd name="T26" fmla="*/ 1601 w 2219"/>
                <a:gd name="T27" fmla="*/ 234 h 2693"/>
                <a:gd name="T28" fmla="*/ 1420 w 2219"/>
                <a:gd name="T29" fmla="*/ 0 h 26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219" h="2693">
                  <a:moveTo>
                    <a:pt x="1420" y="0"/>
                  </a:moveTo>
                  <a:cubicBezTo>
                    <a:pt x="2219" y="0"/>
                    <a:pt x="2219" y="0"/>
                    <a:pt x="2219" y="0"/>
                  </a:cubicBezTo>
                  <a:cubicBezTo>
                    <a:pt x="2219" y="0"/>
                    <a:pt x="2048" y="91"/>
                    <a:pt x="2048" y="234"/>
                  </a:cubicBezTo>
                  <a:cubicBezTo>
                    <a:pt x="2048" y="1840"/>
                    <a:pt x="2048" y="1840"/>
                    <a:pt x="2048" y="1840"/>
                  </a:cubicBezTo>
                  <a:cubicBezTo>
                    <a:pt x="2047" y="2492"/>
                    <a:pt x="1506" y="2693"/>
                    <a:pt x="1131" y="2693"/>
                  </a:cubicBezTo>
                  <a:cubicBezTo>
                    <a:pt x="759" y="2693"/>
                    <a:pt x="175" y="2490"/>
                    <a:pt x="176" y="1840"/>
                  </a:cubicBezTo>
                  <a:cubicBezTo>
                    <a:pt x="176" y="234"/>
                    <a:pt x="176" y="234"/>
                    <a:pt x="176" y="234"/>
                  </a:cubicBezTo>
                  <a:cubicBezTo>
                    <a:pt x="176" y="91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8" y="88"/>
                    <a:pt x="638" y="234"/>
                  </a:cubicBezTo>
                  <a:cubicBezTo>
                    <a:pt x="638" y="1840"/>
                    <a:pt x="638" y="1840"/>
                    <a:pt x="638" y="1840"/>
                  </a:cubicBezTo>
                  <a:cubicBezTo>
                    <a:pt x="638" y="2182"/>
                    <a:pt x="865" y="2406"/>
                    <a:pt x="1131" y="2406"/>
                  </a:cubicBezTo>
                  <a:cubicBezTo>
                    <a:pt x="1397" y="2406"/>
                    <a:pt x="1600" y="2173"/>
                    <a:pt x="1601" y="1840"/>
                  </a:cubicBezTo>
                  <a:cubicBezTo>
                    <a:pt x="1601" y="234"/>
                    <a:pt x="1601" y="234"/>
                    <a:pt x="1601" y="234"/>
                  </a:cubicBezTo>
                  <a:cubicBezTo>
                    <a:pt x="1601" y="91"/>
                    <a:pt x="1420" y="0"/>
                    <a:pt x="142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37" name="Freeform 40">
              <a:extLst>
                <a:ext uri="{FF2B5EF4-FFF2-40B4-BE49-F238E27FC236}">
                  <a16:creationId xmlns:a16="http://schemas.microsoft.com/office/drawing/2014/main" id="{606859B5-A1E4-47EF-9016-922C15E0DCD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142289" y="401514"/>
              <a:ext cx="169862" cy="206312"/>
            </a:xfrm>
            <a:custGeom>
              <a:avLst/>
              <a:gdLst>
                <a:gd name="T0" fmla="*/ 1427 w 2240"/>
                <a:gd name="T1" fmla="*/ 0 h 2700"/>
                <a:gd name="T2" fmla="*/ 2240 w 2240"/>
                <a:gd name="T3" fmla="*/ 0 h 2700"/>
                <a:gd name="T4" fmla="*/ 2068 w 2240"/>
                <a:gd name="T5" fmla="*/ 237 h 2700"/>
                <a:gd name="T6" fmla="*/ 2067 w 2240"/>
                <a:gd name="T7" fmla="*/ 1838 h 2700"/>
                <a:gd name="T8" fmla="*/ 1122 w 2240"/>
                <a:gd name="T9" fmla="*/ 2700 h 2700"/>
                <a:gd name="T10" fmla="*/ 166 w 2240"/>
                <a:gd name="T11" fmla="*/ 1838 h 2700"/>
                <a:gd name="T12" fmla="*/ 166 w 2240"/>
                <a:gd name="T13" fmla="*/ 237 h 2700"/>
                <a:gd name="T14" fmla="*/ 0 w 2240"/>
                <a:gd name="T15" fmla="*/ 0 h 2700"/>
                <a:gd name="T16" fmla="*/ 821 w 2240"/>
                <a:gd name="T17" fmla="*/ 0 h 2700"/>
                <a:gd name="T18" fmla="*/ 631 w 2240"/>
                <a:gd name="T19" fmla="*/ 237 h 2700"/>
                <a:gd name="T20" fmla="*/ 630 w 2240"/>
                <a:gd name="T21" fmla="*/ 1838 h 2700"/>
                <a:gd name="T22" fmla="*/ 1122 w 2240"/>
                <a:gd name="T23" fmla="*/ 2413 h 2700"/>
                <a:gd name="T24" fmla="*/ 1602 w 2240"/>
                <a:gd name="T25" fmla="*/ 1838 h 2700"/>
                <a:gd name="T26" fmla="*/ 1603 w 2240"/>
                <a:gd name="T27" fmla="*/ 237 h 2700"/>
                <a:gd name="T28" fmla="*/ 1427 w 2240"/>
                <a:gd name="T29" fmla="*/ 0 h 27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240" h="2700">
                  <a:moveTo>
                    <a:pt x="1427" y="0"/>
                  </a:moveTo>
                  <a:cubicBezTo>
                    <a:pt x="2240" y="0"/>
                    <a:pt x="2240" y="0"/>
                    <a:pt x="2240" y="0"/>
                  </a:cubicBezTo>
                  <a:cubicBezTo>
                    <a:pt x="2240" y="0"/>
                    <a:pt x="2068" y="95"/>
                    <a:pt x="2068" y="237"/>
                  </a:cubicBezTo>
                  <a:cubicBezTo>
                    <a:pt x="2068" y="238"/>
                    <a:pt x="2067" y="1838"/>
                    <a:pt x="2067" y="1838"/>
                  </a:cubicBezTo>
                  <a:cubicBezTo>
                    <a:pt x="2067" y="2494"/>
                    <a:pt x="1501" y="2700"/>
                    <a:pt x="1122" y="2700"/>
                  </a:cubicBezTo>
                  <a:cubicBezTo>
                    <a:pt x="750" y="2700"/>
                    <a:pt x="166" y="2491"/>
                    <a:pt x="166" y="1838"/>
                  </a:cubicBezTo>
                  <a:cubicBezTo>
                    <a:pt x="166" y="237"/>
                    <a:pt x="166" y="237"/>
                    <a:pt x="166" y="237"/>
                  </a:cubicBezTo>
                  <a:cubicBezTo>
                    <a:pt x="166" y="94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1" y="94"/>
                    <a:pt x="631" y="237"/>
                  </a:cubicBezTo>
                  <a:cubicBezTo>
                    <a:pt x="630" y="1838"/>
                    <a:pt x="630" y="1838"/>
                    <a:pt x="630" y="1838"/>
                  </a:cubicBezTo>
                  <a:cubicBezTo>
                    <a:pt x="630" y="2178"/>
                    <a:pt x="856" y="2412"/>
                    <a:pt x="1122" y="2413"/>
                  </a:cubicBezTo>
                  <a:cubicBezTo>
                    <a:pt x="1388" y="2414"/>
                    <a:pt x="1602" y="2174"/>
                    <a:pt x="1602" y="1838"/>
                  </a:cubicBezTo>
                  <a:cubicBezTo>
                    <a:pt x="1603" y="237"/>
                    <a:pt x="1603" y="237"/>
                    <a:pt x="1603" y="237"/>
                  </a:cubicBezTo>
                  <a:cubicBezTo>
                    <a:pt x="1603" y="94"/>
                    <a:pt x="1427" y="0"/>
                    <a:pt x="142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38" name="Freeform 41">
              <a:extLst>
                <a:ext uri="{FF2B5EF4-FFF2-40B4-BE49-F238E27FC236}">
                  <a16:creationId xmlns:a16="http://schemas.microsoft.com/office/drawing/2014/main" id="{9916EAC5-51B3-4315-A6F9-67FA3906E9D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604251" y="396753"/>
              <a:ext cx="130175" cy="211073"/>
            </a:xfrm>
            <a:custGeom>
              <a:avLst/>
              <a:gdLst>
                <a:gd name="T0" fmla="*/ 1467 w 1707"/>
                <a:gd name="T1" fmla="*/ 479 h 2755"/>
                <a:gd name="T2" fmla="*/ 1019 w 1707"/>
                <a:gd name="T3" fmla="*/ 276 h 2755"/>
                <a:gd name="T4" fmla="*/ 504 w 1707"/>
                <a:gd name="T5" fmla="*/ 677 h 2755"/>
                <a:gd name="T6" fmla="*/ 995 w 1707"/>
                <a:gd name="T7" fmla="*/ 1174 h 2755"/>
                <a:gd name="T8" fmla="*/ 1705 w 1707"/>
                <a:gd name="T9" fmla="*/ 1974 h 2755"/>
                <a:gd name="T10" fmla="*/ 651 w 1707"/>
                <a:gd name="T11" fmla="*/ 2755 h 2755"/>
                <a:gd name="T12" fmla="*/ 155 w 1707"/>
                <a:gd name="T13" fmla="*/ 2686 h 2755"/>
                <a:gd name="T14" fmla="*/ 0 w 1707"/>
                <a:gd name="T15" fmla="*/ 2177 h 2755"/>
                <a:gd name="T16" fmla="*/ 658 w 1707"/>
                <a:gd name="T17" fmla="*/ 2466 h 2755"/>
                <a:gd name="T18" fmla="*/ 1252 w 1707"/>
                <a:gd name="T19" fmla="*/ 2030 h 2755"/>
                <a:gd name="T20" fmla="*/ 46 w 1707"/>
                <a:gd name="T21" fmla="*/ 731 h 2755"/>
                <a:gd name="T22" fmla="*/ 973 w 1707"/>
                <a:gd name="T23" fmla="*/ 0 h 2755"/>
                <a:gd name="T24" fmla="*/ 1467 w 1707"/>
                <a:gd name="T25" fmla="*/ 69 h 2755"/>
                <a:gd name="T26" fmla="*/ 1467 w 1707"/>
                <a:gd name="T27" fmla="*/ 479 h 2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07" h="2755">
                  <a:moveTo>
                    <a:pt x="1467" y="479"/>
                  </a:moveTo>
                  <a:cubicBezTo>
                    <a:pt x="1467" y="479"/>
                    <a:pt x="1352" y="277"/>
                    <a:pt x="1019" y="276"/>
                  </a:cubicBezTo>
                  <a:cubicBezTo>
                    <a:pt x="686" y="275"/>
                    <a:pt x="505" y="450"/>
                    <a:pt x="504" y="677"/>
                  </a:cubicBezTo>
                  <a:cubicBezTo>
                    <a:pt x="503" y="934"/>
                    <a:pt x="696" y="1031"/>
                    <a:pt x="995" y="1174"/>
                  </a:cubicBezTo>
                  <a:cubicBezTo>
                    <a:pt x="1279" y="1311"/>
                    <a:pt x="1707" y="1499"/>
                    <a:pt x="1705" y="1974"/>
                  </a:cubicBezTo>
                  <a:cubicBezTo>
                    <a:pt x="1704" y="2399"/>
                    <a:pt x="1327" y="2755"/>
                    <a:pt x="651" y="2755"/>
                  </a:cubicBezTo>
                  <a:cubicBezTo>
                    <a:pt x="442" y="2754"/>
                    <a:pt x="155" y="2686"/>
                    <a:pt x="155" y="2686"/>
                  </a:cubicBezTo>
                  <a:cubicBezTo>
                    <a:pt x="0" y="2177"/>
                    <a:pt x="0" y="2177"/>
                    <a:pt x="0" y="2177"/>
                  </a:cubicBezTo>
                  <a:cubicBezTo>
                    <a:pt x="143" y="2316"/>
                    <a:pt x="397" y="2466"/>
                    <a:pt x="658" y="2466"/>
                  </a:cubicBezTo>
                  <a:cubicBezTo>
                    <a:pt x="929" y="2466"/>
                    <a:pt x="1252" y="2298"/>
                    <a:pt x="1252" y="2030"/>
                  </a:cubicBezTo>
                  <a:cubicBezTo>
                    <a:pt x="1252" y="1512"/>
                    <a:pt x="46" y="1598"/>
                    <a:pt x="46" y="731"/>
                  </a:cubicBezTo>
                  <a:cubicBezTo>
                    <a:pt x="46" y="433"/>
                    <a:pt x="254" y="0"/>
                    <a:pt x="973" y="0"/>
                  </a:cubicBezTo>
                  <a:cubicBezTo>
                    <a:pt x="1207" y="0"/>
                    <a:pt x="1467" y="69"/>
                    <a:pt x="1467" y="69"/>
                  </a:cubicBezTo>
                  <a:lnTo>
                    <a:pt x="1467" y="4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</p:grpSp>
      <p:pic>
        <p:nvPicPr>
          <p:cNvPr id="17" name="図 16" descr="FUJITSU-RESTRICTED">
            <a:extLst>
              <a:ext uri="{FF2B5EF4-FFF2-40B4-BE49-F238E27FC236}">
                <a16:creationId xmlns:a16="http://schemas.microsoft.com/office/drawing/2014/main" id="{D00F5CEF-86B7-4062-B722-A4AAF253C36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400" y="4863874"/>
            <a:ext cx="1292691" cy="166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6351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フッター プレースホルダー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ja-JP">
                <a:solidFill>
                  <a:srgbClr val="000000"/>
                </a:solidFill>
              </a:rPr>
              <a:t>Copyright 2021 FUJITSU LIMITED</a:t>
            </a:r>
            <a:endParaRPr lang="de-DE" altLang="ja-JP">
              <a:solidFill>
                <a:srgbClr val="000000"/>
              </a:solidFill>
            </a:endParaRPr>
          </a:p>
        </p:txBody>
      </p:sp>
      <p:sp>
        <p:nvSpPr>
          <p:cNvPr id="14" name="スライド番号プレースホルダー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B5B02AC-72C7-48A8-B1FA-68CE81373FC9}" type="slidenum">
              <a:rPr lang="de-DE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 altLang="ja-JP">
              <a:solidFill>
                <a:srgbClr val="000000"/>
              </a:solidFill>
            </a:endParaRPr>
          </a:p>
        </p:txBody>
      </p:sp>
      <p:sp>
        <p:nvSpPr>
          <p:cNvPr id="16" name="AutoShape 11"/>
          <p:cNvSpPr>
            <a:spLocks noChangeAspect="1" noChangeArrowheads="1" noTextEdit="1"/>
          </p:cNvSpPr>
          <p:nvPr userDrawn="1"/>
        </p:nvSpPr>
        <p:spPr bwMode="gray">
          <a:xfrm>
            <a:off x="7607309" y="114277"/>
            <a:ext cx="1417639" cy="7919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ja-JP" altLang="en-US" sz="1600"/>
          </a:p>
        </p:txBody>
      </p:sp>
      <p:sp>
        <p:nvSpPr>
          <p:cNvPr id="26" name="Rectangle 4"/>
          <p:cNvSpPr>
            <a:spLocks noGrp="1" noChangeArrowheads="1"/>
          </p:cNvSpPr>
          <p:nvPr>
            <p:ph type="title" hasCustomPrompt="1"/>
          </p:nvPr>
        </p:nvSpPr>
        <p:spPr bwMode="gray">
          <a:xfrm>
            <a:off x="252005" y="179946"/>
            <a:ext cx="7564437" cy="6252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2560"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lang="ja-JP" altLang="en-US"/>
              <a:t>タイトルを入力</a:t>
            </a:r>
          </a:p>
        </p:txBody>
      </p:sp>
      <p:grpSp>
        <p:nvGrpSpPr>
          <p:cNvPr id="27" name="グループ化 26"/>
          <p:cNvGrpSpPr/>
          <p:nvPr userDrawn="1"/>
        </p:nvGrpSpPr>
        <p:grpSpPr>
          <a:xfrm>
            <a:off x="8010526" y="249164"/>
            <a:ext cx="892176" cy="434841"/>
            <a:chOff x="8010525" y="249238"/>
            <a:chExt cx="892176" cy="434975"/>
          </a:xfrm>
        </p:grpSpPr>
        <p:sp>
          <p:nvSpPr>
            <p:cNvPr id="28" name="Freeform 13"/>
            <p:cNvSpPr>
              <a:spLocks/>
            </p:cNvSpPr>
            <p:nvPr userDrawn="1"/>
          </p:nvSpPr>
          <p:spPr bwMode="gray">
            <a:xfrm>
              <a:off x="8305800" y="249238"/>
              <a:ext cx="179388" cy="139700"/>
            </a:xfrm>
            <a:custGeom>
              <a:avLst/>
              <a:gdLst>
                <a:gd name="T0" fmla="*/ 961 w 2365"/>
                <a:gd name="T1" fmla="*/ 764 h 1825"/>
                <a:gd name="T2" fmla="*/ 599 w 2365"/>
                <a:gd name="T3" fmla="*/ 642 h 1825"/>
                <a:gd name="T4" fmla="*/ 1 w 2365"/>
                <a:gd name="T5" fmla="*/ 1235 h 1825"/>
                <a:gd name="T6" fmla="*/ 599 w 2365"/>
                <a:gd name="T7" fmla="*/ 1825 h 1825"/>
                <a:gd name="T8" fmla="*/ 1053 w 2365"/>
                <a:gd name="T9" fmla="*/ 1619 h 1825"/>
                <a:gd name="T10" fmla="*/ 1053 w 2365"/>
                <a:gd name="T11" fmla="*/ 1293 h 1825"/>
                <a:gd name="T12" fmla="*/ 771 w 2365"/>
                <a:gd name="T13" fmla="*/ 1568 h 1825"/>
                <a:gd name="T14" fmla="*/ 599 w 2365"/>
                <a:gd name="T15" fmla="*/ 1604 h 1825"/>
                <a:gd name="T16" fmla="*/ 225 w 2365"/>
                <a:gd name="T17" fmla="*/ 1235 h 1825"/>
                <a:gd name="T18" fmla="*/ 599 w 2365"/>
                <a:gd name="T19" fmla="*/ 863 h 1825"/>
                <a:gd name="T20" fmla="*/ 861 w 2365"/>
                <a:gd name="T21" fmla="*/ 972 h 1825"/>
                <a:gd name="T22" fmla="*/ 1093 w 2365"/>
                <a:gd name="T23" fmla="*/ 1239 h 1825"/>
                <a:gd name="T24" fmla="*/ 1630 w 2365"/>
                <a:gd name="T25" fmla="*/ 1473 h 1825"/>
                <a:gd name="T26" fmla="*/ 2365 w 2365"/>
                <a:gd name="T27" fmla="*/ 741 h 1825"/>
                <a:gd name="T28" fmla="*/ 1630 w 2365"/>
                <a:gd name="T29" fmla="*/ 0 h 1825"/>
                <a:gd name="T30" fmla="*/ 1053 w 2365"/>
                <a:gd name="T31" fmla="*/ 295 h 1825"/>
                <a:gd name="T32" fmla="*/ 1053 w 2365"/>
                <a:gd name="T33" fmla="*/ 735 h 1825"/>
                <a:gd name="T34" fmla="*/ 1630 w 2365"/>
                <a:gd name="T35" fmla="*/ 232 h 1825"/>
                <a:gd name="T36" fmla="*/ 2134 w 2365"/>
                <a:gd name="T37" fmla="*/ 741 h 1825"/>
                <a:gd name="T38" fmla="*/ 1630 w 2365"/>
                <a:gd name="T39" fmla="*/ 1245 h 1825"/>
                <a:gd name="T40" fmla="*/ 1303 w 2365"/>
                <a:gd name="T41" fmla="*/ 1125 h 1825"/>
                <a:gd name="T42" fmla="*/ 961 w 2365"/>
                <a:gd name="T43" fmla="*/ 764 h 18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65" h="1825">
                  <a:moveTo>
                    <a:pt x="961" y="764"/>
                  </a:moveTo>
                  <a:cubicBezTo>
                    <a:pt x="875" y="688"/>
                    <a:pt x="736" y="643"/>
                    <a:pt x="599" y="642"/>
                  </a:cubicBezTo>
                  <a:cubicBezTo>
                    <a:pt x="270" y="641"/>
                    <a:pt x="2" y="900"/>
                    <a:pt x="1" y="1235"/>
                  </a:cubicBezTo>
                  <a:cubicBezTo>
                    <a:pt x="0" y="1563"/>
                    <a:pt x="270" y="1824"/>
                    <a:pt x="599" y="1825"/>
                  </a:cubicBezTo>
                  <a:cubicBezTo>
                    <a:pt x="783" y="1825"/>
                    <a:pt x="943" y="1751"/>
                    <a:pt x="1053" y="1619"/>
                  </a:cubicBezTo>
                  <a:cubicBezTo>
                    <a:pt x="1053" y="1293"/>
                    <a:pt x="1053" y="1293"/>
                    <a:pt x="1053" y="1293"/>
                  </a:cubicBezTo>
                  <a:cubicBezTo>
                    <a:pt x="994" y="1394"/>
                    <a:pt x="877" y="1524"/>
                    <a:pt x="771" y="1568"/>
                  </a:cubicBezTo>
                  <a:cubicBezTo>
                    <a:pt x="717" y="1590"/>
                    <a:pt x="662" y="1604"/>
                    <a:pt x="599" y="1604"/>
                  </a:cubicBezTo>
                  <a:cubicBezTo>
                    <a:pt x="394" y="1604"/>
                    <a:pt x="225" y="1445"/>
                    <a:pt x="225" y="1235"/>
                  </a:cubicBezTo>
                  <a:cubicBezTo>
                    <a:pt x="225" y="1041"/>
                    <a:pt x="380" y="862"/>
                    <a:pt x="599" y="863"/>
                  </a:cubicBezTo>
                  <a:cubicBezTo>
                    <a:pt x="701" y="863"/>
                    <a:pt x="793" y="905"/>
                    <a:pt x="861" y="972"/>
                  </a:cubicBezTo>
                  <a:cubicBezTo>
                    <a:pt x="931" y="1040"/>
                    <a:pt x="1041" y="1183"/>
                    <a:pt x="1093" y="1239"/>
                  </a:cubicBezTo>
                  <a:cubicBezTo>
                    <a:pt x="1227" y="1383"/>
                    <a:pt x="1419" y="1473"/>
                    <a:pt x="1630" y="1473"/>
                  </a:cubicBezTo>
                  <a:cubicBezTo>
                    <a:pt x="2036" y="1474"/>
                    <a:pt x="2365" y="1146"/>
                    <a:pt x="2365" y="741"/>
                  </a:cubicBezTo>
                  <a:cubicBezTo>
                    <a:pt x="2365" y="336"/>
                    <a:pt x="2035" y="0"/>
                    <a:pt x="1630" y="0"/>
                  </a:cubicBezTo>
                  <a:cubicBezTo>
                    <a:pt x="1395" y="0"/>
                    <a:pt x="1187" y="122"/>
                    <a:pt x="1053" y="295"/>
                  </a:cubicBezTo>
                  <a:cubicBezTo>
                    <a:pt x="1053" y="735"/>
                    <a:pt x="1053" y="735"/>
                    <a:pt x="1053" y="735"/>
                  </a:cubicBezTo>
                  <a:cubicBezTo>
                    <a:pt x="1155" y="455"/>
                    <a:pt x="1340" y="232"/>
                    <a:pt x="1630" y="232"/>
                  </a:cubicBezTo>
                  <a:cubicBezTo>
                    <a:pt x="1909" y="232"/>
                    <a:pt x="2135" y="463"/>
                    <a:pt x="2134" y="741"/>
                  </a:cubicBezTo>
                  <a:cubicBezTo>
                    <a:pt x="2134" y="1020"/>
                    <a:pt x="1909" y="1246"/>
                    <a:pt x="1630" y="1245"/>
                  </a:cubicBezTo>
                  <a:cubicBezTo>
                    <a:pt x="1506" y="1244"/>
                    <a:pt x="1391" y="1199"/>
                    <a:pt x="1303" y="1125"/>
                  </a:cubicBezTo>
                  <a:cubicBezTo>
                    <a:pt x="1194" y="1040"/>
                    <a:pt x="1074" y="860"/>
                    <a:pt x="961" y="764"/>
                  </a:cubicBezTo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 sz="1600"/>
            </a:p>
          </p:txBody>
        </p:sp>
        <p:sp>
          <p:nvSpPr>
            <p:cNvPr id="29" name="Freeform 14"/>
            <p:cNvSpPr>
              <a:spLocks/>
            </p:cNvSpPr>
            <p:nvPr userDrawn="1"/>
          </p:nvSpPr>
          <p:spPr bwMode="gray">
            <a:xfrm>
              <a:off x="8010525" y="401638"/>
              <a:ext cx="123825" cy="201613"/>
            </a:xfrm>
            <a:custGeom>
              <a:avLst/>
              <a:gdLst>
                <a:gd name="T0" fmla="*/ 0 w 1624"/>
                <a:gd name="T1" fmla="*/ 0 h 2651"/>
                <a:gd name="T2" fmla="*/ 1624 w 1624"/>
                <a:gd name="T3" fmla="*/ 0 h 2651"/>
                <a:gd name="T4" fmla="*/ 1624 w 1624"/>
                <a:gd name="T5" fmla="*/ 452 h 2651"/>
                <a:gd name="T6" fmla="*/ 1365 w 1624"/>
                <a:gd name="T7" fmla="*/ 273 h 2651"/>
                <a:gd name="T8" fmla="*/ 613 w 1624"/>
                <a:gd name="T9" fmla="*/ 273 h 2651"/>
                <a:gd name="T10" fmla="*/ 613 w 1624"/>
                <a:gd name="T11" fmla="*/ 1053 h 2651"/>
                <a:gd name="T12" fmla="*/ 1428 w 1624"/>
                <a:gd name="T13" fmla="*/ 1053 h 2651"/>
                <a:gd name="T14" fmla="*/ 1428 w 1624"/>
                <a:gd name="T15" fmla="*/ 1467 h 2651"/>
                <a:gd name="T16" fmla="*/ 1205 w 1624"/>
                <a:gd name="T17" fmla="*/ 1335 h 2651"/>
                <a:gd name="T18" fmla="*/ 613 w 1624"/>
                <a:gd name="T19" fmla="*/ 1335 h 2651"/>
                <a:gd name="T20" fmla="*/ 613 w 1624"/>
                <a:gd name="T21" fmla="*/ 2401 h 2651"/>
                <a:gd name="T22" fmla="*/ 784 w 1624"/>
                <a:gd name="T23" fmla="*/ 2651 h 2651"/>
                <a:gd name="T24" fmla="*/ 11 w 1624"/>
                <a:gd name="T25" fmla="*/ 2651 h 2651"/>
                <a:gd name="T26" fmla="*/ 173 w 1624"/>
                <a:gd name="T27" fmla="*/ 2401 h 2651"/>
                <a:gd name="T28" fmla="*/ 173 w 1624"/>
                <a:gd name="T29" fmla="*/ 278 h 2651"/>
                <a:gd name="T30" fmla="*/ 0 w 1624"/>
                <a:gd name="T31" fmla="*/ 0 h 2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624" h="2651">
                  <a:moveTo>
                    <a:pt x="0" y="0"/>
                  </a:moveTo>
                  <a:cubicBezTo>
                    <a:pt x="1624" y="0"/>
                    <a:pt x="1624" y="0"/>
                    <a:pt x="1624" y="0"/>
                  </a:cubicBezTo>
                  <a:cubicBezTo>
                    <a:pt x="1624" y="452"/>
                    <a:pt x="1624" y="452"/>
                    <a:pt x="1624" y="452"/>
                  </a:cubicBezTo>
                  <a:cubicBezTo>
                    <a:pt x="1624" y="452"/>
                    <a:pt x="1540" y="274"/>
                    <a:pt x="1365" y="273"/>
                  </a:cubicBezTo>
                  <a:cubicBezTo>
                    <a:pt x="613" y="273"/>
                    <a:pt x="613" y="273"/>
                    <a:pt x="613" y="273"/>
                  </a:cubicBezTo>
                  <a:cubicBezTo>
                    <a:pt x="613" y="1053"/>
                    <a:pt x="613" y="1053"/>
                    <a:pt x="613" y="1053"/>
                  </a:cubicBezTo>
                  <a:cubicBezTo>
                    <a:pt x="1428" y="1053"/>
                    <a:pt x="1428" y="1053"/>
                    <a:pt x="1428" y="1053"/>
                  </a:cubicBezTo>
                  <a:cubicBezTo>
                    <a:pt x="1428" y="1467"/>
                    <a:pt x="1428" y="1467"/>
                    <a:pt x="1428" y="1467"/>
                  </a:cubicBezTo>
                  <a:cubicBezTo>
                    <a:pt x="1428" y="1467"/>
                    <a:pt x="1402" y="1335"/>
                    <a:pt x="1205" y="1335"/>
                  </a:cubicBezTo>
                  <a:cubicBezTo>
                    <a:pt x="613" y="1335"/>
                    <a:pt x="613" y="1335"/>
                    <a:pt x="613" y="1335"/>
                  </a:cubicBezTo>
                  <a:cubicBezTo>
                    <a:pt x="613" y="2401"/>
                    <a:pt x="613" y="2401"/>
                    <a:pt x="613" y="2401"/>
                  </a:cubicBezTo>
                  <a:cubicBezTo>
                    <a:pt x="613" y="2558"/>
                    <a:pt x="784" y="2651"/>
                    <a:pt x="784" y="2651"/>
                  </a:cubicBezTo>
                  <a:cubicBezTo>
                    <a:pt x="11" y="2651"/>
                    <a:pt x="11" y="2651"/>
                    <a:pt x="11" y="2651"/>
                  </a:cubicBezTo>
                  <a:cubicBezTo>
                    <a:pt x="11" y="2651"/>
                    <a:pt x="173" y="2569"/>
                    <a:pt x="173" y="2401"/>
                  </a:cubicBezTo>
                  <a:cubicBezTo>
                    <a:pt x="173" y="278"/>
                    <a:pt x="173" y="278"/>
                    <a:pt x="173" y="278"/>
                  </a:cubicBezTo>
                  <a:cubicBezTo>
                    <a:pt x="173" y="9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 sz="1600"/>
            </a:p>
          </p:txBody>
        </p:sp>
        <p:sp>
          <p:nvSpPr>
            <p:cNvPr id="30" name="Freeform 15"/>
            <p:cNvSpPr>
              <a:spLocks/>
            </p:cNvSpPr>
            <p:nvPr userDrawn="1"/>
          </p:nvSpPr>
          <p:spPr bwMode="gray">
            <a:xfrm>
              <a:off x="8304213" y="401638"/>
              <a:ext cx="80963" cy="282575"/>
            </a:xfrm>
            <a:custGeom>
              <a:avLst/>
              <a:gdLst>
                <a:gd name="T0" fmla="*/ 246 w 1072"/>
                <a:gd name="T1" fmla="*/ 0 h 3696"/>
                <a:gd name="T2" fmla="*/ 1072 w 1072"/>
                <a:gd name="T3" fmla="*/ 0 h 3696"/>
                <a:gd name="T4" fmla="*/ 887 w 1072"/>
                <a:gd name="T5" fmla="*/ 230 h 3696"/>
                <a:gd name="T6" fmla="*/ 887 w 1072"/>
                <a:gd name="T7" fmla="*/ 2717 h 3696"/>
                <a:gd name="T8" fmla="*/ 0 w 1072"/>
                <a:gd name="T9" fmla="*/ 3693 h 3696"/>
                <a:gd name="T10" fmla="*/ 423 w 1072"/>
                <a:gd name="T11" fmla="*/ 2717 h 3696"/>
                <a:gd name="T12" fmla="*/ 423 w 1072"/>
                <a:gd name="T13" fmla="*/ 230 h 3696"/>
                <a:gd name="T14" fmla="*/ 246 w 1072"/>
                <a:gd name="T15" fmla="*/ 0 h 36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72" h="3696">
                  <a:moveTo>
                    <a:pt x="246" y="0"/>
                  </a:moveTo>
                  <a:cubicBezTo>
                    <a:pt x="1072" y="0"/>
                    <a:pt x="1072" y="0"/>
                    <a:pt x="1072" y="0"/>
                  </a:cubicBezTo>
                  <a:cubicBezTo>
                    <a:pt x="1072" y="0"/>
                    <a:pt x="887" y="87"/>
                    <a:pt x="887" y="230"/>
                  </a:cubicBezTo>
                  <a:cubicBezTo>
                    <a:pt x="887" y="2717"/>
                    <a:pt x="887" y="2717"/>
                    <a:pt x="887" y="2717"/>
                  </a:cubicBezTo>
                  <a:cubicBezTo>
                    <a:pt x="887" y="3558"/>
                    <a:pt x="44" y="3696"/>
                    <a:pt x="0" y="3693"/>
                  </a:cubicBezTo>
                  <a:cubicBezTo>
                    <a:pt x="72" y="3647"/>
                    <a:pt x="422" y="3349"/>
                    <a:pt x="423" y="2717"/>
                  </a:cubicBezTo>
                  <a:cubicBezTo>
                    <a:pt x="423" y="230"/>
                    <a:pt x="423" y="230"/>
                    <a:pt x="423" y="230"/>
                  </a:cubicBezTo>
                  <a:cubicBezTo>
                    <a:pt x="424" y="96"/>
                    <a:pt x="246" y="0"/>
                    <a:pt x="246" y="0"/>
                  </a:cubicBez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 sz="1600"/>
            </a:p>
          </p:txBody>
        </p:sp>
        <p:sp>
          <p:nvSpPr>
            <p:cNvPr id="31" name="Freeform 16"/>
            <p:cNvSpPr>
              <a:spLocks/>
            </p:cNvSpPr>
            <p:nvPr userDrawn="1"/>
          </p:nvSpPr>
          <p:spPr bwMode="gray">
            <a:xfrm>
              <a:off x="8394700" y="401638"/>
              <a:ext cx="63500" cy="201613"/>
            </a:xfrm>
            <a:custGeom>
              <a:avLst/>
              <a:gdLst>
                <a:gd name="T0" fmla="*/ 0 w 828"/>
                <a:gd name="T1" fmla="*/ 0 h 2653"/>
                <a:gd name="T2" fmla="*/ 828 w 828"/>
                <a:gd name="T3" fmla="*/ 0 h 2653"/>
                <a:gd name="T4" fmla="*/ 645 w 828"/>
                <a:gd name="T5" fmla="*/ 235 h 2653"/>
                <a:gd name="T6" fmla="*/ 645 w 828"/>
                <a:gd name="T7" fmla="*/ 2401 h 2653"/>
                <a:gd name="T8" fmla="*/ 828 w 828"/>
                <a:gd name="T9" fmla="*/ 2653 h 2653"/>
                <a:gd name="T10" fmla="*/ 0 w 828"/>
                <a:gd name="T11" fmla="*/ 2653 h 2653"/>
                <a:gd name="T12" fmla="*/ 184 w 828"/>
                <a:gd name="T13" fmla="*/ 2401 h 2653"/>
                <a:gd name="T14" fmla="*/ 184 w 828"/>
                <a:gd name="T15" fmla="*/ 235 h 2653"/>
                <a:gd name="T16" fmla="*/ 0 w 828"/>
                <a:gd name="T17" fmla="*/ 0 h 26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28" h="2653">
                  <a:moveTo>
                    <a:pt x="0" y="0"/>
                  </a:moveTo>
                  <a:cubicBezTo>
                    <a:pt x="828" y="0"/>
                    <a:pt x="828" y="0"/>
                    <a:pt x="828" y="0"/>
                  </a:cubicBezTo>
                  <a:cubicBezTo>
                    <a:pt x="828" y="0"/>
                    <a:pt x="645" y="89"/>
                    <a:pt x="645" y="235"/>
                  </a:cubicBezTo>
                  <a:cubicBezTo>
                    <a:pt x="645" y="2401"/>
                    <a:pt x="645" y="2401"/>
                    <a:pt x="645" y="2401"/>
                  </a:cubicBezTo>
                  <a:cubicBezTo>
                    <a:pt x="645" y="2556"/>
                    <a:pt x="828" y="2653"/>
                    <a:pt x="828" y="2653"/>
                  </a:cubicBezTo>
                  <a:cubicBezTo>
                    <a:pt x="0" y="2653"/>
                    <a:pt x="0" y="2653"/>
                    <a:pt x="0" y="2653"/>
                  </a:cubicBezTo>
                  <a:cubicBezTo>
                    <a:pt x="0" y="2653"/>
                    <a:pt x="184" y="2557"/>
                    <a:pt x="184" y="2401"/>
                  </a:cubicBezTo>
                  <a:cubicBezTo>
                    <a:pt x="184" y="235"/>
                    <a:pt x="184" y="235"/>
                    <a:pt x="184" y="235"/>
                  </a:cubicBezTo>
                  <a:cubicBezTo>
                    <a:pt x="184" y="8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 sz="1600"/>
            </a:p>
          </p:txBody>
        </p:sp>
        <p:sp>
          <p:nvSpPr>
            <p:cNvPr id="32" name="Freeform 17"/>
            <p:cNvSpPr>
              <a:spLocks/>
            </p:cNvSpPr>
            <p:nvPr userDrawn="1"/>
          </p:nvSpPr>
          <p:spPr bwMode="gray">
            <a:xfrm>
              <a:off x="8458200" y="401638"/>
              <a:ext cx="150813" cy="201613"/>
            </a:xfrm>
            <a:custGeom>
              <a:avLst/>
              <a:gdLst>
                <a:gd name="T0" fmla="*/ 161 w 1984"/>
                <a:gd name="T1" fmla="*/ 0 h 2651"/>
                <a:gd name="T2" fmla="*/ 1984 w 1984"/>
                <a:gd name="T3" fmla="*/ 0 h 2651"/>
                <a:gd name="T4" fmla="*/ 1829 w 1984"/>
                <a:gd name="T5" fmla="*/ 482 h 2651"/>
                <a:gd name="T6" fmla="*/ 1607 w 1984"/>
                <a:gd name="T7" fmla="*/ 279 h 2651"/>
                <a:gd name="T8" fmla="*/ 1229 w 1984"/>
                <a:gd name="T9" fmla="*/ 279 h 2651"/>
                <a:gd name="T10" fmla="*/ 1229 w 1984"/>
                <a:gd name="T11" fmla="*/ 2401 h 2651"/>
                <a:gd name="T12" fmla="*/ 1407 w 1984"/>
                <a:gd name="T13" fmla="*/ 2651 h 2651"/>
                <a:gd name="T14" fmla="*/ 595 w 1984"/>
                <a:gd name="T15" fmla="*/ 2651 h 2651"/>
                <a:gd name="T16" fmla="*/ 771 w 1984"/>
                <a:gd name="T17" fmla="*/ 2401 h 2651"/>
                <a:gd name="T18" fmla="*/ 771 w 1984"/>
                <a:gd name="T19" fmla="*/ 279 h 2651"/>
                <a:gd name="T20" fmla="*/ 315 w 1984"/>
                <a:gd name="T21" fmla="*/ 279 h 2651"/>
                <a:gd name="T22" fmla="*/ 0 w 1984"/>
                <a:gd name="T23" fmla="*/ 522 h 2651"/>
                <a:gd name="T24" fmla="*/ 161 w 1984"/>
                <a:gd name="T25" fmla="*/ 0 h 2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84" h="2651">
                  <a:moveTo>
                    <a:pt x="161" y="0"/>
                  </a:moveTo>
                  <a:cubicBezTo>
                    <a:pt x="1984" y="0"/>
                    <a:pt x="1984" y="0"/>
                    <a:pt x="1984" y="0"/>
                  </a:cubicBezTo>
                  <a:cubicBezTo>
                    <a:pt x="1829" y="482"/>
                    <a:pt x="1829" y="482"/>
                    <a:pt x="1829" y="482"/>
                  </a:cubicBezTo>
                  <a:cubicBezTo>
                    <a:pt x="1829" y="482"/>
                    <a:pt x="1783" y="279"/>
                    <a:pt x="1607" y="279"/>
                  </a:cubicBezTo>
                  <a:cubicBezTo>
                    <a:pt x="1229" y="279"/>
                    <a:pt x="1229" y="279"/>
                    <a:pt x="1229" y="279"/>
                  </a:cubicBezTo>
                  <a:cubicBezTo>
                    <a:pt x="1229" y="2401"/>
                    <a:pt x="1229" y="2401"/>
                    <a:pt x="1229" y="2401"/>
                  </a:cubicBezTo>
                  <a:cubicBezTo>
                    <a:pt x="1229" y="2535"/>
                    <a:pt x="1407" y="2651"/>
                    <a:pt x="1407" y="2651"/>
                  </a:cubicBezTo>
                  <a:cubicBezTo>
                    <a:pt x="595" y="2651"/>
                    <a:pt x="595" y="2651"/>
                    <a:pt x="595" y="2651"/>
                  </a:cubicBezTo>
                  <a:cubicBezTo>
                    <a:pt x="595" y="2651"/>
                    <a:pt x="771" y="2547"/>
                    <a:pt x="771" y="2401"/>
                  </a:cubicBezTo>
                  <a:cubicBezTo>
                    <a:pt x="771" y="279"/>
                    <a:pt x="771" y="279"/>
                    <a:pt x="771" y="279"/>
                  </a:cubicBezTo>
                  <a:cubicBezTo>
                    <a:pt x="315" y="279"/>
                    <a:pt x="315" y="279"/>
                    <a:pt x="315" y="279"/>
                  </a:cubicBezTo>
                  <a:cubicBezTo>
                    <a:pt x="185" y="280"/>
                    <a:pt x="0" y="522"/>
                    <a:pt x="0" y="522"/>
                  </a:cubicBezTo>
                  <a:lnTo>
                    <a:pt x="161" y="0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 sz="1600"/>
            </a:p>
          </p:txBody>
        </p:sp>
        <p:sp>
          <p:nvSpPr>
            <p:cNvPr id="33" name="Freeform 18"/>
            <p:cNvSpPr>
              <a:spLocks/>
            </p:cNvSpPr>
            <p:nvPr userDrawn="1"/>
          </p:nvSpPr>
          <p:spPr bwMode="gray">
            <a:xfrm>
              <a:off x="8732838" y="401638"/>
              <a:ext cx="169863" cy="204788"/>
            </a:xfrm>
            <a:custGeom>
              <a:avLst/>
              <a:gdLst>
                <a:gd name="T0" fmla="*/ 1420 w 2219"/>
                <a:gd name="T1" fmla="*/ 0 h 2693"/>
                <a:gd name="T2" fmla="*/ 2219 w 2219"/>
                <a:gd name="T3" fmla="*/ 0 h 2693"/>
                <a:gd name="T4" fmla="*/ 2048 w 2219"/>
                <a:gd name="T5" fmla="*/ 234 h 2693"/>
                <a:gd name="T6" fmla="*/ 2048 w 2219"/>
                <a:gd name="T7" fmla="*/ 1840 h 2693"/>
                <a:gd name="T8" fmla="*/ 1131 w 2219"/>
                <a:gd name="T9" fmla="*/ 2693 h 2693"/>
                <a:gd name="T10" fmla="*/ 176 w 2219"/>
                <a:gd name="T11" fmla="*/ 1840 h 2693"/>
                <a:gd name="T12" fmla="*/ 176 w 2219"/>
                <a:gd name="T13" fmla="*/ 234 h 2693"/>
                <a:gd name="T14" fmla="*/ 0 w 2219"/>
                <a:gd name="T15" fmla="*/ 0 h 2693"/>
                <a:gd name="T16" fmla="*/ 821 w 2219"/>
                <a:gd name="T17" fmla="*/ 0 h 2693"/>
                <a:gd name="T18" fmla="*/ 638 w 2219"/>
                <a:gd name="T19" fmla="*/ 234 h 2693"/>
                <a:gd name="T20" fmla="*/ 638 w 2219"/>
                <a:gd name="T21" fmla="*/ 1840 h 2693"/>
                <a:gd name="T22" fmla="*/ 1131 w 2219"/>
                <a:gd name="T23" fmla="*/ 2406 h 2693"/>
                <a:gd name="T24" fmla="*/ 1601 w 2219"/>
                <a:gd name="T25" fmla="*/ 1840 h 2693"/>
                <a:gd name="T26" fmla="*/ 1601 w 2219"/>
                <a:gd name="T27" fmla="*/ 234 h 2693"/>
                <a:gd name="T28" fmla="*/ 1420 w 2219"/>
                <a:gd name="T29" fmla="*/ 0 h 26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219" h="2693">
                  <a:moveTo>
                    <a:pt x="1420" y="0"/>
                  </a:moveTo>
                  <a:cubicBezTo>
                    <a:pt x="2219" y="0"/>
                    <a:pt x="2219" y="0"/>
                    <a:pt x="2219" y="0"/>
                  </a:cubicBezTo>
                  <a:cubicBezTo>
                    <a:pt x="2219" y="0"/>
                    <a:pt x="2048" y="91"/>
                    <a:pt x="2048" y="234"/>
                  </a:cubicBezTo>
                  <a:cubicBezTo>
                    <a:pt x="2048" y="1840"/>
                    <a:pt x="2048" y="1840"/>
                    <a:pt x="2048" y="1840"/>
                  </a:cubicBezTo>
                  <a:cubicBezTo>
                    <a:pt x="2047" y="2492"/>
                    <a:pt x="1506" y="2693"/>
                    <a:pt x="1131" y="2693"/>
                  </a:cubicBezTo>
                  <a:cubicBezTo>
                    <a:pt x="759" y="2693"/>
                    <a:pt x="175" y="2490"/>
                    <a:pt x="176" y="1840"/>
                  </a:cubicBezTo>
                  <a:cubicBezTo>
                    <a:pt x="176" y="234"/>
                    <a:pt x="176" y="234"/>
                    <a:pt x="176" y="234"/>
                  </a:cubicBezTo>
                  <a:cubicBezTo>
                    <a:pt x="176" y="91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8" y="88"/>
                    <a:pt x="638" y="234"/>
                  </a:cubicBezTo>
                  <a:cubicBezTo>
                    <a:pt x="638" y="1840"/>
                    <a:pt x="638" y="1840"/>
                    <a:pt x="638" y="1840"/>
                  </a:cubicBezTo>
                  <a:cubicBezTo>
                    <a:pt x="638" y="2182"/>
                    <a:pt x="865" y="2406"/>
                    <a:pt x="1131" y="2406"/>
                  </a:cubicBezTo>
                  <a:cubicBezTo>
                    <a:pt x="1397" y="2406"/>
                    <a:pt x="1600" y="2173"/>
                    <a:pt x="1601" y="1840"/>
                  </a:cubicBezTo>
                  <a:cubicBezTo>
                    <a:pt x="1601" y="234"/>
                    <a:pt x="1601" y="234"/>
                    <a:pt x="1601" y="234"/>
                  </a:cubicBezTo>
                  <a:cubicBezTo>
                    <a:pt x="1601" y="91"/>
                    <a:pt x="1420" y="0"/>
                    <a:pt x="1420" y="0"/>
                  </a:cubicBez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 sz="1600"/>
            </a:p>
          </p:txBody>
        </p:sp>
        <p:sp>
          <p:nvSpPr>
            <p:cNvPr id="34" name="Freeform 19"/>
            <p:cNvSpPr>
              <a:spLocks/>
            </p:cNvSpPr>
            <p:nvPr userDrawn="1"/>
          </p:nvSpPr>
          <p:spPr bwMode="gray">
            <a:xfrm>
              <a:off x="8140700" y="401638"/>
              <a:ext cx="169863" cy="206375"/>
            </a:xfrm>
            <a:custGeom>
              <a:avLst/>
              <a:gdLst>
                <a:gd name="T0" fmla="*/ 1427 w 2240"/>
                <a:gd name="T1" fmla="*/ 0 h 2700"/>
                <a:gd name="T2" fmla="*/ 2240 w 2240"/>
                <a:gd name="T3" fmla="*/ 0 h 2700"/>
                <a:gd name="T4" fmla="*/ 2068 w 2240"/>
                <a:gd name="T5" fmla="*/ 237 h 2700"/>
                <a:gd name="T6" fmla="*/ 2067 w 2240"/>
                <a:gd name="T7" fmla="*/ 1838 h 2700"/>
                <a:gd name="T8" fmla="*/ 1122 w 2240"/>
                <a:gd name="T9" fmla="*/ 2700 h 2700"/>
                <a:gd name="T10" fmla="*/ 166 w 2240"/>
                <a:gd name="T11" fmla="*/ 1838 h 2700"/>
                <a:gd name="T12" fmla="*/ 166 w 2240"/>
                <a:gd name="T13" fmla="*/ 237 h 2700"/>
                <a:gd name="T14" fmla="*/ 0 w 2240"/>
                <a:gd name="T15" fmla="*/ 0 h 2700"/>
                <a:gd name="T16" fmla="*/ 821 w 2240"/>
                <a:gd name="T17" fmla="*/ 0 h 2700"/>
                <a:gd name="T18" fmla="*/ 631 w 2240"/>
                <a:gd name="T19" fmla="*/ 237 h 2700"/>
                <a:gd name="T20" fmla="*/ 630 w 2240"/>
                <a:gd name="T21" fmla="*/ 1838 h 2700"/>
                <a:gd name="T22" fmla="*/ 1122 w 2240"/>
                <a:gd name="T23" fmla="*/ 2413 h 2700"/>
                <a:gd name="T24" fmla="*/ 1602 w 2240"/>
                <a:gd name="T25" fmla="*/ 1838 h 2700"/>
                <a:gd name="T26" fmla="*/ 1603 w 2240"/>
                <a:gd name="T27" fmla="*/ 237 h 2700"/>
                <a:gd name="T28" fmla="*/ 1427 w 2240"/>
                <a:gd name="T29" fmla="*/ 0 h 27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240" h="2700">
                  <a:moveTo>
                    <a:pt x="1427" y="0"/>
                  </a:moveTo>
                  <a:cubicBezTo>
                    <a:pt x="2240" y="0"/>
                    <a:pt x="2240" y="0"/>
                    <a:pt x="2240" y="0"/>
                  </a:cubicBezTo>
                  <a:cubicBezTo>
                    <a:pt x="2240" y="0"/>
                    <a:pt x="2068" y="95"/>
                    <a:pt x="2068" y="237"/>
                  </a:cubicBezTo>
                  <a:cubicBezTo>
                    <a:pt x="2068" y="238"/>
                    <a:pt x="2067" y="1838"/>
                    <a:pt x="2067" y="1838"/>
                  </a:cubicBezTo>
                  <a:cubicBezTo>
                    <a:pt x="2067" y="2494"/>
                    <a:pt x="1501" y="2700"/>
                    <a:pt x="1122" y="2700"/>
                  </a:cubicBezTo>
                  <a:cubicBezTo>
                    <a:pt x="750" y="2700"/>
                    <a:pt x="166" y="2491"/>
                    <a:pt x="166" y="1838"/>
                  </a:cubicBezTo>
                  <a:cubicBezTo>
                    <a:pt x="166" y="237"/>
                    <a:pt x="166" y="237"/>
                    <a:pt x="166" y="237"/>
                  </a:cubicBezTo>
                  <a:cubicBezTo>
                    <a:pt x="166" y="94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1" y="94"/>
                    <a:pt x="631" y="237"/>
                  </a:cubicBezTo>
                  <a:cubicBezTo>
                    <a:pt x="630" y="1838"/>
                    <a:pt x="630" y="1838"/>
                    <a:pt x="630" y="1838"/>
                  </a:cubicBezTo>
                  <a:cubicBezTo>
                    <a:pt x="630" y="2178"/>
                    <a:pt x="856" y="2412"/>
                    <a:pt x="1122" y="2413"/>
                  </a:cubicBezTo>
                  <a:cubicBezTo>
                    <a:pt x="1388" y="2414"/>
                    <a:pt x="1602" y="2174"/>
                    <a:pt x="1602" y="1838"/>
                  </a:cubicBezTo>
                  <a:cubicBezTo>
                    <a:pt x="1603" y="237"/>
                    <a:pt x="1603" y="237"/>
                    <a:pt x="1603" y="237"/>
                  </a:cubicBezTo>
                  <a:cubicBezTo>
                    <a:pt x="1603" y="94"/>
                    <a:pt x="1427" y="0"/>
                    <a:pt x="1427" y="0"/>
                  </a:cubicBez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 sz="1600"/>
            </a:p>
          </p:txBody>
        </p:sp>
        <p:sp>
          <p:nvSpPr>
            <p:cNvPr id="35" name="Freeform 20"/>
            <p:cNvSpPr>
              <a:spLocks/>
            </p:cNvSpPr>
            <p:nvPr userDrawn="1"/>
          </p:nvSpPr>
          <p:spPr bwMode="gray">
            <a:xfrm>
              <a:off x="8602663" y="396875"/>
              <a:ext cx="130175" cy="211138"/>
            </a:xfrm>
            <a:custGeom>
              <a:avLst/>
              <a:gdLst>
                <a:gd name="T0" fmla="*/ 1467 w 1707"/>
                <a:gd name="T1" fmla="*/ 479 h 2755"/>
                <a:gd name="T2" fmla="*/ 1019 w 1707"/>
                <a:gd name="T3" fmla="*/ 276 h 2755"/>
                <a:gd name="T4" fmla="*/ 504 w 1707"/>
                <a:gd name="T5" fmla="*/ 677 h 2755"/>
                <a:gd name="T6" fmla="*/ 995 w 1707"/>
                <a:gd name="T7" fmla="*/ 1174 h 2755"/>
                <a:gd name="T8" fmla="*/ 1705 w 1707"/>
                <a:gd name="T9" fmla="*/ 1974 h 2755"/>
                <a:gd name="T10" fmla="*/ 651 w 1707"/>
                <a:gd name="T11" fmla="*/ 2755 h 2755"/>
                <a:gd name="T12" fmla="*/ 155 w 1707"/>
                <a:gd name="T13" fmla="*/ 2686 h 2755"/>
                <a:gd name="T14" fmla="*/ 0 w 1707"/>
                <a:gd name="T15" fmla="*/ 2177 h 2755"/>
                <a:gd name="T16" fmla="*/ 658 w 1707"/>
                <a:gd name="T17" fmla="*/ 2466 h 2755"/>
                <a:gd name="T18" fmla="*/ 1252 w 1707"/>
                <a:gd name="T19" fmla="*/ 2030 h 2755"/>
                <a:gd name="T20" fmla="*/ 46 w 1707"/>
                <a:gd name="T21" fmla="*/ 731 h 2755"/>
                <a:gd name="T22" fmla="*/ 973 w 1707"/>
                <a:gd name="T23" fmla="*/ 0 h 2755"/>
                <a:gd name="T24" fmla="*/ 1467 w 1707"/>
                <a:gd name="T25" fmla="*/ 69 h 2755"/>
                <a:gd name="T26" fmla="*/ 1467 w 1707"/>
                <a:gd name="T27" fmla="*/ 479 h 2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07" h="2755">
                  <a:moveTo>
                    <a:pt x="1467" y="479"/>
                  </a:moveTo>
                  <a:cubicBezTo>
                    <a:pt x="1467" y="479"/>
                    <a:pt x="1352" y="277"/>
                    <a:pt x="1019" y="276"/>
                  </a:cubicBezTo>
                  <a:cubicBezTo>
                    <a:pt x="686" y="275"/>
                    <a:pt x="505" y="450"/>
                    <a:pt x="504" y="677"/>
                  </a:cubicBezTo>
                  <a:cubicBezTo>
                    <a:pt x="503" y="934"/>
                    <a:pt x="696" y="1031"/>
                    <a:pt x="995" y="1174"/>
                  </a:cubicBezTo>
                  <a:cubicBezTo>
                    <a:pt x="1279" y="1311"/>
                    <a:pt x="1707" y="1499"/>
                    <a:pt x="1705" y="1974"/>
                  </a:cubicBezTo>
                  <a:cubicBezTo>
                    <a:pt x="1704" y="2399"/>
                    <a:pt x="1327" y="2755"/>
                    <a:pt x="651" y="2755"/>
                  </a:cubicBezTo>
                  <a:cubicBezTo>
                    <a:pt x="442" y="2754"/>
                    <a:pt x="155" y="2686"/>
                    <a:pt x="155" y="2686"/>
                  </a:cubicBezTo>
                  <a:cubicBezTo>
                    <a:pt x="0" y="2177"/>
                    <a:pt x="0" y="2177"/>
                    <a:pt x="0" y="2177"/>
                  </a:cubicBezTo>
                  <a:cubicBezTo>
                    <a:pt x="143" y="2316"/>
                    <a:pt x="397" y="2466"/>
                    <a:pt x="658" y="2466"/>
                  </a:cubicBezTo>
                  <a:cubicBezTo>
                    <a:pt x="929" y="2466"/>
                    <a:pt x="1252" y="2298"/>
                    <a:pt x="1252" y="2030"/>
                  </a:cubicBezTo>
                  <a:cubicBezTo>
                    <a:pt x="1252" y="1512"/>
                    <a:pt x="46" y="1598"/>
                    <a:pt x="46" y="731"/>
                  </a:cubicBezTo>
                  <a:cubicBezTo>
                    <a:pt x="46" y="433"/>
                    <a:pt x="254" y="0"/>
                    <a:pt x="973" y="0"/>
                  </a:cubicBezTo>
                  <a:cubicBezTo>
                    <a:pt x="1207" y="0"/>
                    <a:pt x="1467" y="69"/>
                    <a:pt x="1467" y="69"/>
                  </a:cubicBezTo>
                  <a:lnTo>
                    <a:pt x="1467" y="479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 sz="1600"/>
            </a:p>
          </p:txBody>
        </p:sp>
      </p:grpSp>
      <p:sp>
        <p:nvSpPr>
          <p:cNvPr id="17" name="コンテンツ プレースホルダー 2"/>
          <p:cNvSpPr>
            <a:spLocks noGrp="1"/>
          </p:cNvSpPr>
          <p:nvPr>
            <p:ph idx="1"/>
          </p:nvPr>
        </p:nvSpPr>
        <p:spPr>
          <a:xfrm>
            <a:off x="252011" y="845749"/>
            <a:ext cx="8645525" cy="374217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ja-JP" altLang="en-US" dirty="0"/>
            </a:lvl1pPr>
            <a:lvl2pPr>
              <a:defRPr lang="ja-JP" altLang="en-US" dirty="0"/>
            </a:lvl2pPr>
            <a:lvl3pPr>
              <a:defRPr lang="ja-JP" altLang="en-US" dirty="0">
                <a:ea typeface="Meiryo UI" panose="020B0604030504040204" pitchFamily="50" charset="-128"/>
              </a:defRPr>
            </a:lvl3pPr>
            <a:lvl4pPr>
              <a:defRPr lang="ja-JP" altLang="en-US" dirty="0">
                <a:ea typeface="Meiryo UI" panose="020B0604030504040204" pitchFamily="50" charset="-128"/>
              </a:defRPr>
            </a:lvl4pPr>
            <a:lvl5pPr>
              <a:defRPr lang="ja-JP" altLang="en-US" dirty="0"/>
            </a:lvl5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38887575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US" smtClean="0">
                <a:solidFill>
                  <a:srgbClr val="000000"/>
                </a:solidFill>
              </a:defRPr>
            </a:lvl1pPr>
          </a:lstStyle>
          <a:p>
            <a:r>
              <a:rPr lang="en-US"/>
              <a:t>Copyright 2021 FUJITSU LIMITED</a:t>
            </a: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US" smtClean="0"/>
            </a:lvl1pPr>
          </a:lstStyle>
          <a:p>
            <a:fld id="{B6F15528-21DE-4FAA-801E-634DDDAF4B2B}" type="slidenum">
              <a:rPr lang="en-US" altLang="ja-JP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05434078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1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bg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vert="horz" wrap="none" lIns="91384" tIns="45692" rIns="91384" bIns="45692" numCol="1" rtlCol="0" anchor="ctr" anchorCtr="0" compatLnSpc="1">
            <a:prstTxWarp prst="textNoShape">
              <a:avLst/>
            </a:prstTxWarp>
          </a:bodyPr>
          <a:lstStyle/>
          <a:p>
            <a:endParaRPr lang="ja-JP" altLang="en-US" sz="160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3" name="フッター プレースホルダー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Fujitsu Sans" panose="020B0404060202020204" pitchFamily="34" charset="0"/>
              </a:defRPr>
            </a:lvl1pPr>
          </a:lstStyle>
          <a:p>
            <a:pPr>
              <a:defRPr/>
            </a:pPr>
            <a:r>
              <a:rPr lang="en-US" altLang="ja-JP">
                <a:solidFill>
                  <a:srgbClr val="000000"/>
                </a:solidFill>
              </a:rPr>
              <a:t>Copyright 2021 FUJITSU LIMITED</a:t>
            </a:r>
            <a:endParaRPr lang="de-DE" altLang="ja-JP">
              <a:solidFill>
                <a:srgbClr val="000000"/>
              </a:solidFill>
            </a:endParaRPr>
          </a:p>
        </p:txBody>
      </p:sp>
      <p:grpSp>
        <p:nvGrpSpPr>
          <p:cNvPr id="36" name="グループ化 35"/>
          <p:cNvGrpSpPr/>
          <p:nvPr userDrawn="1"/>
        </p:nvGrpSpPr>
        <p:grpSpPr>
          <a:xfrm>
            <a:off x="8008046" y="247970"/>
            <a:ext cx="895497" cy="435425"/>
            <a:chOff x="8008039" y="247965"/>
            <a:chExt cx="895497" cy="435425"/>
          </a:xfrm>
        </p:grpSpPr>
        <p:sp>
          <p:nvSpPr>
            <p:cNvPr id="37" name="Freeform 73"/>
            <p:cNvSpPr>
              <a:spLocks/>
            </p:cNvSpPr>
            <p:nvPr userDrawn="1"/>
          </p:nvSpPr>
          <p:spPr bwMode="gray">
            <a:xfrm>
              <a:off x="8302431" y="399953"/>
              <a:ext cx="82156" cy="283437"/>
            </a:xfrm>
            <a:custGeom>
              <a:avLst/>
              <a:gdLst/>
              <a:ahLst/>
              <a:cxnLst>
                <a:cxn ang="0">
                  <a:pos x="246" y="0"/>
                </a:cxn>
                <a:cxn ang="0">
                  <a:pos x="1072" y="0"/>
                </a:cxn>
                <a:cxn ang="0">
                  <a:pos x="887" y="230"/>
                </a:cxn>
                <a:cxn ang="0">
                  <a:pos x="887" y="2717"/>
                </a:cxn>
                <a:cxn ang="0">
                  <a:pos x="0" y="3693"/>
                </a:cxn>
                <a:cxn ang="0">
                  <a:pos x="423" y="2717"/>
                </a:cxn>
                <a:cxn ang="0">
                  <a:pos x="423" y="230"/>
                </a:cxn>
                <a:cxn ang="0">
                  <a:pos x="246" y="0"/>
                </a:cxn>
              </a:cxnLst>
              <a:rect l="0" t="0" r="r" b="b"/>
              <a:pathLst>
                <a:path w="1072" h="3696">
                  <a:moveTo>
                    <a:pt x="246" y="0"/>
                  </a:moveTo>
                  <a:cubicBezTo>
                    <a:pt x="1072" y="0"/>
                    <a:pt x="1072" y="0"/>
                    <a:pt x="1072" y="0"/>
                  </a:cubicBezTo>
                  <a:cubicBezTo>
                    <a:pt x="1072" y="0"/>
                    <a:pt x="887" y="87"/>
                    <a:pt x="887" y="230"/>
                  </a:cubicBezTo>
                  <a:cubicBezTo>
                    <a:pt x="887" y="2717"/>
                    <a:pt x="887" y="2717"/>
                    <a:pt x="887" y="2717"/>
                  </a:cubicBezTo>
                  <a:cubicBezTo>
                    <a:pt x="887" y="3558"/>
                    <a:pt x="44" y="3696"/>
                    <a:pt x="0" y="3693"/>
                  </a:cubicBezTo>
                  <a:cubicBezTo>
                    <a:pt x="72" y="3647"/>
                    <a:pt x="422" y="3349"/>
                    <a:pt x="423" y="2717"/>
                  </a:cubicBezTo>
                  <a:cubicBezTo>
                    <a:pt x="423" y="230"/>
                    <a:pt x="423" y="230"/>
                    <a:pt x="423" y="230"/>
                  </a:cubicBezTo>
                  <a:cubicBezTo>
                    <a:pt x="424" y="96"/>
                    <a:pt x="246" y="0"/>
                    <a:pt x="246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en-GB" sz="1800" kern="0">
                <a:solidFill>
                  <a:sysClr val="windowText" lastClr="000000"/>
                </a:solidFill>
                <a:ea typeface="Meiryo UI" panose="020B0604030504040204" pitchFamily="50" charset="-128"/>
              </a:endParaRPr>
            </a:p>
          </p:txBody>
        </p:sp>
        <p:grpSp>
          <p:nvGrpSpPr>
            <p:cNvPr id="38" name="グループ化 37"/>
            <p:cNvGrpSpPr/>
            <p:nvPr userDrawn="1"/>
          </p:nvGrpSpPr>
          <p:grpSpPr>
            <a:xfrm>
              <a:off x="8008039" y="247965"/>
              <a:ext cx="895497" cy="358747"/>
              <a:chOff x="8008039" y="247965"/>
              <a:chExt cx="895497" cy="358747"/>
            </a:xfrm>
          </p:grpSpPr>
          <p:sp>
            <p:nvSpPr>
              <p:cNvPr id="39" name="Freeform 71"/>
              <p:cNvSpPr>
                <a:spLocks/>
              </p:cNvSpPr>
              <p:nvPr userDrawn="1"/>
            </p:nvSpPr>
            <p:spPr bwMode="gray">
              <a:xfrm>
                <a:off x="8303800" y="247965"/>
                <a:ext cx="180743" cy="139665"/>
              </a:xfrm>
              <a:custGeom>
                <a:avLst/>
                <a:gdLst/>
                <a:ahLst/>
                <a:cxnLst>
                  <a:cxn ang="0">
                    <a:pos x="961" y="764"/>
                  </a:cxn>
                  <a:cxn ang="0">
                    <a:pos x="599" y="642"/>
                  </a:cxn>
                  <a:cxn ang="0">
                    <a:pos x="1" y="1235"/>
                  </a:cxn>
                  <a:cxn ang="0">
                    <a:pos x="599" y="1825"/>
                  </a:cxn>
                  <a:cxn ang="0">
                    <a:pos x="1053" y="1619"/>
                  </a:cxn>
                  <a:cxn ang="0">
                    <a:pos x="1053" y="1293"/>
                  </a:cxn>
                  <a:cxn ang="0">
                    <a:pos x="771" y="1568"/>
                  </a:cxn>
                  <a:cxn ang="0">
                    <a:pos x="599" y="1604"/>
                  </a:cxn>
                  <a:cxn ang="0">
                    <a:pos x="225" y="1235"/>
                  </a:cxn>
                  <a:cxn ang="0">
                    <a:pos x="599" y="863"/>
                  </a:cxn>
                  <a:cxn ang="0">
                    <a:pos x="861" y="972"/>
                  </a:cxn>
                  <a:cxn ang="0">
                    <a:pos x="1093" y="1239"/>
                  </a:cxn>
                  <a:cxn ang="0">
                    <a:pos x="1630" y="1473"/>
                  </a:cxn>
                  <a:cxn ang="0">
                    <a:pos x="2365" y="741"/>
                  </a:cxn>
                  <a:cxn ang="0">
                    <a:pos x="1630" y="0"/>
                  </a:cxn>
                  <a:cxn ang="0">
                    <a:pos x="1053" y="295"/>
                  </a:cxn>
                  <a:cxn ang="0">
                    <a:pos x="1053" y="735"/>
                  </a:cxn>
                  <a:cxn ang="0">
                    <a:pos x="1630" y="232"/>
                  </a:cxn>
                  <a:cxn ang="0">
                    <a:pos x="2134" y="741"/>
                  </a:cxn>
                  <a:cxn ang="0">
                    <a:pos x="1630" y="1245"/>
                  </a:cxn>
                  <a:cxn ang="0">
                    <a:pos x="1303" y="1125"/>
                  </a:cxn>
                  <a:cxn ang="0">
                    <a:pos x="961" y="764"/>
                  </a:cxn>
                </a:cxnLst>
                <a:rect l="0" t="0" r="r" b="b"/>
                <a:pathLst>
                  <a:path w="2365" h="1825">
                    <a:moveTo>
                      <a:pt x="961" y="764"/>
                    </a:moveTo>
                    <a:cubicBezTo>
                      <a:pt x="875" y="688"/>
                      <a:pt x="736" y="643"/>
                      <a:pt x="599" y="642"/>
                    </a:cubicBezTo>
                    <a:cubicBezTo>
                      <a:pt x="270" y="641"/>
                      <a:pt x="2" y="900"/>
                      <a:pt x="1" y="1235"/>
                    </a:cubicBezTo>
                    <a:cubicBezTo>
                      <a:pt x="0" y="1563"/>
                      <a:pt x="270" y="1824"/>
                      <a:pt x="599" y="1825"/>
                    </a:cubicBezTo>
                    <a:cubicBezTo>
                      <a:pt x="783" y="1825"/>
                      <a:pt x="943" y="1751"/>
                      <a:pt x="1053" y="1619"/>
                    </a:cubicBezTo>
                    <a:cubicBezTo>
                      <a:pt x="1053" y="1293"/>
                      <a:pt x="1053" y="1293"/>
                      <a:pt x="1053" y="1293"/>
                    </a:cubicBezTo>
                    <a:cubicBezTo>
                      <a:pt x="994" y="1394"/>
                      <a:pt x="877" y="1524"/>
                      <a:pt x="771" y="1568"/>
                    </a:cubicBezTo>
                    <a:cubicBezTo>
                      <a:pt x="717" y="1590"/>
                      <a:pt x="662" y="1604"/>
                      <a:pt x="599" y="1604"/>
                    </a:cubicBezTo>
                    <a:cubicBezTo>
                      <a:pt x="394" y="1604"/>
                      <a:pt x="225" y="1445"/>
                      <a:pt x="225" y="1235"/>
                    </a:cubicBezTo>
                    <a:cubicBezTo>
                      <a:pt x="225" y="1041"/>
                      <a:pt x="380" y="862"/>
                      <a:pt x="599" y="863"/>
                    </a:cubicBezTo>
                    <a:cubicBezTo>
                      <a:pt x="701" y="863"/>
                      <a:pt x="793" y="905"/>
                      <a:pt x="861" y="972"/>
                    </a:cubicBezTo>
                    <a:cubicBezTo>
                      <a:pt x="931" y="1040"/>
                      <a:pt x="1041" y="1183"/>
                      <a:pt x="1093" y="1239"/>
                    </a:cubicBezTo>
                    <a:cubicBezTo>
                      <a:pt x="1227" y="1383"/>
                      <a:pt x="1419" y="1473"/>
                      <a:pt x="1630" y="1473"/>
                    </a:cubicBezTo>
                    <a:cubicBezTo>
                      <a:pt x="2036" y="1474"/>
                      <a:pt x="2365" y="1146"/>
                      <a:pt x="2365" y="741"/>
                    </a:cubicBezTo>
                    <a:cubicBezTo>
                      <a:pt x="2365" y="336"/>
                      <a:pt x="2035" y="0"/>
                      <a:pt x="1630" y="0"/>
                    </a:cubicBezTo>
                    <a:cubicBezTo>
                      <a:pt x="1395" y="0"/>
                      <a:pt x="1187" y="122"/>
                      <a:pt x="1053" y="295"/>
                    </a:cubicBezTo>
                    <a:cubicBezTo>
                      <a:pt x="1053" y="735"/>
                      <a:pt x="1053" y="735"/>
                      <a:pt x="1053" y="735"/>
                    </a:cubicBezTo>
                    <a:cubicBezTo>
                      <a:pt x="1155" y="455"/>
                      <a:pt x="1340" y="232"/>
                      <a:pt x="1630" y="232"/>
                    </a:cubicBezTo>
                    <a:cubicBezTo>
                      <a:pt x="1909" y="232"/>
                      <a:pt x="2135" y="463"/>
                      <a:pt x="2134" y="741"/>
                    </a:cubicBezTo>
                    <a:cubicBezTo>
                      <a:pt x="2134" y="1020"/>
                      <a:pt x="1909" y="1246"/>
                      <a:pt x="1630" y="1245"/>
                    </a:cubicBezTo>
                    <a:cubicBezTo>
                      <a:pt x="1506" y="1244"/>
                      <a:pt x="1391" y="1199"/>
                      <a:pt x="1303" y="1125"/>
                    </a:cubicBezTo>
                    <a:cubicBezTo>
                      <a:pt x="1194" y="1040"/>
                      <a:pt x="1074" y="860"/>
                      <a:pt x="961" y="764"/>
                    </a:cubicBezTo>
                  </a:path>
                </a:pathLst>
              </a:custGeom>
              <a:solidFill>
                <a:srgbClr val="FF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en-GB" sz="1800" kern="0">
                  <a:solidFill>
                    <a:sysClr val="windowText" lastClr="000000"/>
                  </a:solidFill>
                  <a:ea typeface="Meiryo UI" panose="020B0604030504040204" pitchFamily="50" charset="-128"/>
                </a:endParaRPr>
              </a:p>
            </p:txBody>
          </p:sp>
          <p:sp>
            <p:nvSpPr>
              <p:cNvPr id="40" name="Freeform 72"/>
              <p:cNvSpPr>
                <a:spLocks/>
              </p:cNvSpPr>
              <p:nvPr userDrawn="1"/>
            </p:nvSpPr>
            <p:spPr bwMode="gray">
              <a:xfrm>
                <a:off x="8008039" y="399953"/>
                <a:ext cx="124603" cy="20265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624" y="0"/>
                  </a:cxn>
                  <a:cxn ang="0">
                    <a:pos x="1624" y="452"/>
                  </a:cxn>
                  <a:cxn ang="0">
                    <a:pos x="1365" y="273"/>
                  </a:cxn>
                  <a:cxn ang="0">
                    <a:pos x="613" y="273"/>
                  </a:cxn>
                  <a:cxn ang="0">
                    <a:pos x="613" y="1053"/>
                  </a:cxn>
                  <a:cxn ang="0">
                    <a:pos x="1428" y="1053"/>
                  </a:cxn>
                  <a:cxn ang="0">
                    <a:pos x="1428" y="1467"/>
                  </a:cxn>
                  <a:cxn ang="0">
                    <a:pos x="1205" y="1335"/>
                  </a:cxn>
                  <a:cxn ang="0">
                    <a:pos x="613" y="1335"/>
                  </a:cxn>
                  <a:cxn ang="0">
                    <a:pos x="613" y="2401"/>
                  </a:cxn>
                  <a:cxn ang="0">
                    <a:pos x="784" y="2651"/>
                  </a:cxn>
                  <a:cxn ang="0">
                    <a:pos x="11" y="2651"/>
                  </a:cxn>
                  <a:cxn ang="0">
                    <a:pos x="173" y="2401"/>
                  </a:cxn>
                  <a:cxn ang="0">
                    <a:pos x="173" y="278"/>
                  </a:cxn>
                  <a:cxn ang="0">
                    <a:pos x="0" y="0"/>
                  </a:cxn>
                </a:cxnLst>
                <a:rect l="0" t="0" r="r" b="b"/>
                <a:pathLst>
                  <a:path w="1624" h="2651">
                    <a:moveTo>
                      <a:pt x="0" y="0"/>
                    </a:moveTo>
                    <a:cubicBezTo>
                      <a:pt x="1624" y="0"/>
                      <a:pt x="1624" y="0"/>
                      <a:pt x="1624" y="0"/>
                    </a:cubicBezTo>
                    <a:cubicBezTo>
                      <a:pt x="1624" y="452"/>
                      <a:pt x="1624" y="452"/>
                      <a:pt x="1624" y="452"/>
                    </a:cubicBezTo>
                    <a:cubicBezTo>
                      <a:pt x="1624" y="452"/>
                      <a:pt x="1540" y="274"/>
                      <a:pt x="1365" y="273"/>
                    </a:cubicBezTo>
                    <a:cubicBezTo>
                      <a:pt x="613" y="273"/>
                      <a:pt x="613" y="273"/>
                      <a:pt x="613" y="273"/>
                    </a:cubicBezTo>
                    <a:cubicBezTo>
                      <a:pt x="613" y="1053"/>
                      <a:pt x="613" y="1053"/>
                      <a:pt x="613" y="1053"/>
                    </a:cubicBezTo>
                    <a:cubicBezTo>
                      <a:pt x="1428" y="1053"/>
                      <a:pt x="1428" y="1053"/>
                      <a:pt x="1428" y="1053"/>
                    </a:cubicBezTo>
                    <a:cubicBezTo>
                      <a:pt x="1428" y="1467"/>
                      <a:pt x="1428" y="1467"/>
                      <a:pt x="1428" y="1467"/>
                    </a:cubicBezTo>
                    <a:cubicBezTo>
                      <a:pt x="1428" y="1467"/>
                      <a:pt x="1402" y="1335"/>
                      <a:pt x="1205" y="1335"/>
                    </a:cubicBezTo>
                    <a:cubicBezTo>
                      <a:pt x="613" y="1335"/>
                      <a:pt x="613" y="1335"/>
                      <a:pt x="613" y="1335"/>
                    </a:cubicBezTo>
                    <a:cubicBezTo>
                      <a:pt x="613" y="2401"/>
                      <a:pt x="613" y="2401"/>
                      <a:pt x="613" y="2401"/>
                    </a:cubicBezTo>
                    <a:cubicBezTo>
                      <a:pt x="613" y="2558"/>
                      <a:pt x="784" y="2651"/>
                      <a:pt x="784" y="2651"/>
                    </a:cubicBezTo>
                    <a:cubicBezTo>
                      <a:pt x="11" y="2651"/>
                      <a:pt x="11" y="2651"/>
                      <a:pt x="11" y="2651"/>
                    </a:cubicBezTo>
                    <a:cubicBezTo>
                      <a:pt x="11" y="2651"/>
                      <a:pt x="173" y="2569"/>
                      <a:pt x="173" y="2401"/>
                    </a:cubicBezTo>
                    <a:cubicBezTo>
                      <a:pt x="173" y="278"/>
                      <a:pt x="173" y="278"/>
                      <a:pt x="173" y="278"/>
                    </a:cubicBezTo>
                    <a:cubicBezTo>
                      <a:pt x="173" y="99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FF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en-GB" sz="1800" kern="0">
                  <a:solidFill>
                    <a:sysClr val="windowText" lastClr="000000"/>
                  </a:solidFill>
                  <a:ea typeface="Meiryo UI" panose="020B0604030504040204" pitchFamily="50" charset="-128"/>
                </a:endParaRPr>
              </a:p>
            </p:txBody>
          </p:sp>
          <p:sp>
            <p:nvSpPr>
              <p:cNvPr id="41" name="Freeform 74"/>
              <p:cNvSpPr>
                <a:spLocks/>
              </p:cNvSpPr>
              <p:nvPr userDrawn="1"/>
            </p:nvSpPr>
            <p:spPr bwMode="gray">
              <a:xfrm>
                <a:off x="8392802" y="399953"/>
                <a:ext cx="64355" cy="20265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828" y="0"/>
                  </a:cxn>
                  <a:cxn ang="0">
                    <a:pos x="645" y="235"/>
                  </a:cxn>
                  <a:cxn ang="0">
                    <a:pos x="645" y="2401"/>
                  </a:cxn>
                  <a:cxn ang="0">
                    <a:pos x="828" y="2653"/>
                  </a:cxn>
                  <a:cxn ang="0">
                    <a:pos x="0" y="2653"/>
                  </a:cxn>
                  <a:cxn ang="0">
                    <a:pos x="184" y="2401"/>
                  </a:cxn>
                  <a:cxn ang="0">
                    <a:pos x="184" y="235"/>
                  </a:cxn>
                  <a:cxn ang="0">
                    <a:pos x="0" y="0"/>
                  </a:cxn>
                </a:cxnLst>
                <a:rect l="0" t="0" r="r" b="b"/>
                <a:pathLst>
                  <a:path w="828" h="2653">
                    <a:moveTo>
                      <a:pt x="0" y="0"/>
                    </a:moveTo>
                    <a:cubicBezTo>
                      <a:pt x="828" y="0"/>
                      <a:pt x="828" y="0"/>
                      <a:pt x="828" y="0"/>
                    </a:cubicBezTo>
                    <a:cubicBezTo>
                      <a:pt x="828" y="0"/>
                      <a:pt x="645" y="89"/>
                      <a:pt x="645" y="235"/>
                    </a:cubicBezTo>
                    <a:cubicBezTo>
                      <a:pt x="645" y="2401"/>
                      <a:pt x="645" y="2401"/>
                      <a:pt x="645" y="2401"/>
                    </a:cubicBezTo>
                    <a:cubicBezTo>
                      <a:pt x="645" y="2556"/>
                      <a:pt x="828" y="2653"/>
                      <a:pt x="828" y="2653"/>
                    </a:cubicBezTo>
                    <a:cubicBezTo>
                      <a:pt x="0" y="2653"/>
                      <a:pt x="0" y="2653"/>
                      <a:pt x="0" y="2653"/>
                    </a:cubicBezTo>
                    <a:cubicBezTo>
                      <a:pt x="0" y="2653"/>
                      <a:pt x="184" y="2557"/>
                      <a:pt x="184" y="2401"/>
                    </a:cubicBezTo>
                    <a:cubicBezTo>
                      <a:pt x="184" y="235"/>
                      <a:pt x="184" y="235"/>
                      <a:pt x="184" y="235"/>
                    </a:cubicBezTo>
                    <a:cubicBezTo>
                      <a:pt x="184" y="89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FF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en-GB" sz="1800" kern="0">
                  <a:solidFill>
                    <a:sysClr val="windowText" lastClr="000000"/>
                  </a:solidFill>
                  <a:ea typeface="Meiryo UI" panose="020B0604030504040204" pitchFamily="50" charset="-128"/>
                </a:endParaRPr>
              </a:p>
            </p:txBody>
          </p:sp>
          <p:sp>
            <p:nvSpPr>
              <p:cNvPr id="42" name="Freeform 75"/>
              <p:cNvSpPr>
                <a:spLocks/>
              </p:cNvSpPr>
              <p:nvPr userDrawn="1"/>
            </p:nvSpPr>
            <p:spPr bwMode="gray">
              <a:xfrm>
                <a:off x="8457157" y="399953"/>
                <a:ext cx="151988" cy="202651"/>
              </a:xfrm>
              <a:custGeom>
                <a:avLst/>
                <a:gdLst/>
                <a:ahLst/>
                <a:cxnLst>
                  <a:cxn ang="0">
                    <a:pos x="161" y="0"/>
                  </a:cxn>
                  <a:cxn ang="0">
                    <a:pos x="1984" y="0"/>
                  </a:cxn>
                  <a:cxn ang="0">
                    <a:pos x="1829" y="482"/>
                  </a:cxn>
                  <a:cxn ang="0">
                    <a:pos x="1607" y="279"/>
                  </a:cxn>
                  <a:cxn ang="0">
                    <a:pos x="1229" y="279"/>
                  </a:cxn>
                  <a:cxn ang="0">
                    <a:pos x="1229" y="2401"/>
                  </a:cxn>
                  <a:cxn ang="0">
                    <a:pos x="1407" y="2651"/>
                  </a:cxn>
                  <a:cxn ang="0">
                    <a:pos x="595" y="2651"/>
                  </a:cxn>
                  <a:cxn ang="0">
                    <a:pos x="771" y="2401"/>
                  </a:cxn>
                  <a:cxn ang="0">
                    <a:pos x="771" y="279"/>
                  </a:cxn>
                  <a:cxn ang="0">
                    <a:pos x="315" y="279"/>
                  </a:cxn>
                  <a:cxn ang="0">
                    <a:pos x="0" y="522"/>
                  </a:cxn>
                  <a:cxn ang="0">
                    <a:pos x="161" y="0"/>
                  </a:cxn>
                </a:cxnLst>
                <a:rect l="0" t="0" r="r" b="b"/>
                <a:pathLst>
                  <a:path w="1984" h="2651">
                    <a:moveTo>
                      <a:pt x="161" y="0"/>
                    </a:moveTo>
                    <a:cubicBezTo>
                      <a:pt x="1984" y="0"/>
                      <a:pt x="1984" y="0"/>
                      <a:pt x="1984" y="0"/>
                    </a:cubicBezTo>
                    <a:cubicBezTo>
                      <a:pt x="1829" y="482"/>
                      <a:pt x="1829" y="482"/>
                      <a:pt x="1829" y="482"/>
                    </a:cubicBezTo>
                    <a:cubicBezTo>
                      <a:pt x="1829" y="482"/>
                      <a:pt x="1783" y="279"/>
                      <a:pt x="1607" y="279"/>
                    </a:cubicBezTo>
                    <a:cubicBezTo>
                      <a:pt x="1229" y="279"/>
                      <a:pt x="1229" y="279"/>
                      <a:pt x="1229" y="279"/>
                    </a:cubicBezTo>
                    <a:cubicBezTo>
                      <a:pt x="1229" y="2401"/>
                      <a:pt x="1229" y="2401"/>
                      <a:pt x="1229" y="2401"/>
                    </a:cubicBezTo>
                    <a:cubicBezTo>
                      <a:pt x="1229" y="2535"/>
                      <a:pt x="1407" y="2651"/>
                      <a:pt x="1407" y="2651"/>
                    </a:cubicBezTo>
                    <a:cubicBezTo>
                      <a:pt x="595" y="2651"/>
                      <a:pt x="595" y="2651"/>
                      <a:pt x="595" y="2651"/>
                    </a:cubicBezTo>
                    <a:cubicBezTo>
                      <a:pt x="595" y="2651"/>
                      <a:pt x="771" y="2547"/>
                      <a:pt x="771" y="2401"/>
                    </a:cubicBezTo>
                    <a:cubicBezTo>
                      <a:pt x="771" y="279"/>
                      <a:pt x="771" y="279"/>
                      <a:pt x="771" y="279"/>
                    </a:cubicBezTo>
                    <a:cubicBezTo>
                      <a:pt x="315" y="279"/>
                      <a:pt x="315" y="279"/>
                      <a:pt x="315" y="279"/>
                    </a:cubicBezTo>
                    <a:cubicBezTo>
                      <a:pt x="185" y="280"/>
                      <a:pt x="0" y="522"/>
                      <a:pt x="0" y="522"/>
                    </a:cubicBezTo>
                    <a:lnTo>
                      <a:pt x="161" y="0"/>
                    </a:lnTo>
                    <a:close/>
                  </a:path>
                </a:pathLst>
              </a:custGeom>
              <a:solidFill>
                <a:srgbClr val="FF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en-GB" sz="1800" kern="0">
                  <a:solidFill>
                    <a:sysClr val="windowText" lastClr="000000"/>
                  </a:solidFill>
                  <a:ea typeface="Meiryo UI" panose="020B0604030504040204" pitchFamily="50" charset="-128"/>
                </a:endParaRPr>
              </a:p>
            </p:txBody>
          </p:sp>
          <p:sp>
            <p:nvSpPr>
              <p:cNvPr id="43" name="Freeform 76"/>
              <p:cNvSpPr>
                <a:spLocks/>
              </p:cNvSpPr>
              <p:nvPr userDrawn="1"/>
            </p:nvSpPr>
            <p:spPr bwMode="gray">
              <a:xfrm>
                <a:off x="8733748" y="399953"/>
                <a:ext cx="169788" cy="206759"/>
              </a:xfrm>
              <a:custGeom>
                <a:avLst/>
                <a:gdLst/>
                <a:ahLst/>
                <a:cxnLst>
                  <a:cxn ang="0">
                    <a:pos x="1420" y="0"/>
                  </a:cxn>
                  <a:cxn ang="0">
                    <a:pos x="2219" y="0"/>
                  </a:cxn>
                  <a:cxn ang="0">
                    <a:pos x="2048" y="234"/>
                  </a:cxn>
                  <a:cxn ang="0">
                    <a:pos x="2048" y="1840"/>
                  </a:cxn>
                  <a:cxn ang="0">
                    <a:pos x="1131" y="2693"/>
                  </a:cxn>
                  <a:cxn ang="0">
                    <a:pos x="176" y="1840"/>
                  </a:cxn>
                  <a:cxn ang="0">
                    <a:pos x="176" y="234"/>
                  </a:cxn>
                  <a:cxn ang="0">
                    <a:pos x="0" y="0"/>
                  </a:cxn>
                  <a:cxn ang="0">
                    <a:pos x="821" y="0"/>
                  </a:cxn>
                  <a:cxn ang="0">
                    <a:pos x="638" y="234"/>
                  </a:cxn>
                  <a:cxn ang="0">
                    <a:pos x="638" y="1840"/>
                  </a:cxn>
                  <a:cxn ang="0">
                    <a:pos x="1131" y="2406"/>
                  </a:cxn>
                  <a:cxn ang="0">
                    <a:pos x="1601" y="1840"/>
                  </a:cxn>
                  <a:cxn ang="0">
                    <a:pos x="1601" y="234"/>
                  </a:cxn>
                  <a:cxn ang="0">
                    <a:pos x="1420" y="0"/>
                  </a:cxn>
                </a:cxnLst>
                <a:rect l="0" t="0" r="r" b="b"/>
                <a:pathLst>
                  <a:path w="2219" h="2693">
                    <a:moveTo>
                      <a:pt x="1420" y="0"/>
                    </a:moveTo>
                    <a:cubicBezTo>
                      <a:pt x="2219" y="0"/>
                      <a:pt x="2219" y="0"/>
                      <a:pt x="2219" y="0"/>
                    </a:cubicBezTo>
                    <a:cubicBezTo>
                      <a:pt x="2219" y="0"/>
                      <a:pt x="2048" y="91"/>
                      <a:pt x="2048" y="234"/>
                    </a:cubicBezTo>
                    <a:cubicBezTo>
                      <a:pt x="2048" y="1840"/>
                      <a:pt x="2048" y="1840"/>
                      <a:pt x="2048" y="1840"/>
                    </a:cubicBezTo>
                    <a:cubicBezTo>
                      <a:pt x="2047" y="2492"/>
                      <a:pt x="1506" y="2693"/>
                      <a:pt x="1131" y="2693"/>
                    </a:cubicBezTo>
                    <a:cubicBezTo>
                      <a:pt x="759" y="2693"/>
                      <a:pt x="175" y="2490"/>
                      <a:pt x="176" y="1840"/>
                    </a:cubicBezTo>
                    <a:cubicBezTo>
                      <a:pt x="176" y="234"/>
                      <a:pt x="176" y="234"/>
                      <a:pt x="176" y="234"/>
                    </a:cubicBezTo>
                    <a:cubicBezTo>
                      <a:pt x="176" y="91"/>
                      <a:pt x="0" y="0"/>
                      <a:pt x="0" y="0"/>
                    </a:cubicBezTo>
                    <a:cubicBezTo>
                      <a:pt x="821" y="0"/>
                      <a:pt x="821" y="0"/>
                      <a:pt x="821" y="0"/>
                    </a:cubicBezTo>
                    <a:cubicBezTo>
                      <a:pt x="821" y="0"/>
                      <a:pt x="638" y="88"/>
                      <a:pt x="638" y="234"/>
                    </a:cubicBezTo>
                    <a:cubicBezTo>
                      <a:pt x="638" y="1840"/>
                      <a:pt x="638" y="1840"/>
                      <a:pt x="638" y="1840"/>
                    </a:cubicBezTo>
                    <a:cubicBezTo>
                      <a:pt x="638" y="2182"/>
                      <a:pt x="865" y="2406"/>
                      <a:pt x="1131" y="2406"/>
                    </a:cubicBezTo>
                    <a:cubicBezTo>
                      <a:pt x="1397" y="2406"/>
                      <a:pt x="1600" y="2173"/>
                      <a:pt x="1601" y="1840"/>
                    </a:cubicBezTo>
                    <a:cubicBezTo>
                      <a:pt x="1601" y="234"/>
                      <a:pt x="1601" y="234"/>
                      <a:pt x="1601" y="234"/>
                    </a:cubicBezTo>
                    <a:cubicBezTo>
                      <a:pt x="1601" y="91"/>
                      <a:pt x="1420" y="0"/>
                      <a:pt x="1420" y="0"/>
                    </a:cubicBezTo>
                    <a:close/>
                  </a:path>
                </a:pathLst>
              </a:custGeom>
              <a:solidFill>
                <a:srgbClr val="FF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en-GB" sz="1800" kern="0">
                  <a:solidFill>
                    <a:sysClr val="windowText" lastClr="000000"/>
                  </a:solidFill>
                  <a:ea typeface="Meiryo UI" panose="020B0604030504040204" pitchFamily="50" charset="-128"/>
                </a:endParaRPr>
              </a:p>
            </p:txBody>
          </p:sp>
          <p:sp>
            <p:nvSpPr>
              <p:cNvPr id="44" name="Freeform 77"/>
              <p:cNvSpPr>
                <a:spLocks/>
              </p:cNvSpPr>
              <p:nvPr userDrawn="1"/>
            </p:nvSpPr>
            <p:spPr bwMode="gray">
              <a:xfrm>
                <a:off x="8138119" y="399953"/>
                <a:ext cx="171158" cy="206759"/>
              </a:xfrm>
              <a:custGeom>
                <a:avLst/>
                <a:gdLst/>
                <a:ahLst/>
                <a:cxnLst>
                  <a:cxn ang="0">
                    <a:pos x="1427" y="0"/>
                  </a:cxn>
                  <a:cxn ang="0">
                    <a:pos x="2240" y="0"/>
                  </a:cxn>
                  <a:cxn ang="0">
                    <a:pos x="2068" y="237"/>
                  </a:cxn>
                  <a:cxn ang="0">
                    <a:pos x="2067" y="1838"/>
                  </a:cxn>
                  <a:cxn ang="0">
                    <a:pos x="1122" y="2700"/>
                  </a:cxn>
                  <a:cxn ang="0">
                    <a:pos x="166" y="1838"/>
                  </a:cxn>
                  <a:cxn ang="0">
                    <a:pos x="166" y="237"/>
                  </a:cxn>
                  <a:cxn ang="0">
                    <a:pos x="0" y="0"/>
                  </a:cxn>
                  <a:cxn ang="0">
                    <a:pos x="821" y="0"/>
                  </a:cxn>
                  <a:cxn ang="0">
                    <a:pos x="631" y="237"/>
                  </a:cxn>
                  <a:cxn ang="0">
                    <a:pos x="630" y="1838"/>
                  </a:cxn>
                  <a:cxn ang="0">
                    <a:pos x="1122" y="2413"/>
                  </a:cxn>
                  <a:cxn ang="0">
                    <a:pos x="1602" y="1838"/>
                  </a:cxn>
                  <a:cxn ang="0">
                    <a:pos x="1603" y="237"/>
                  </a:cxn>
                  <a:cxn ang="0">
                    <a:pos x="1427" y="0"/>
                  </a:cxn>
                </a:cxnLst>
                <a:rect l="0" t="0" r="r" b="b"/>
                <a:pathLst>
                  <a:path w="2240" h="2700">
                    <a:moveTo>
                      <a:pt x="1427" y="0"/>
                    </a:moveTo>
                    <a:cubicBezTo>
                      <a:pt x="2240" y="0"/>
                      <a:pt x="2240" y="0"/>
                      <a:pt x="2240" y="0"/>
                    </a:cubicBezTo>
                    <a:cubicBezTo>
                      <a:pt x="2240" y="0"/>
                      <a:pt x="2068" y="95"/>
                      <a:pt x="2068" y="237"/>
                    </a:cubicBezTo>
                    <a:cubicBezTo>
                      <a:pt x="2068" y="238"/>
                      <a:pt x="2067" y="1838"/>
                      <a:pt x="2067" y="1838"/>
                    </a:cubicBezTo>
                    <a:cubicBezTo>
                      <a:pt x="2067" y="2494"/>
                      <a:pt x="1501" y="2700"/>
                      <a:pt x="1122" y="2700"/>
                    </a:cubicBezTo>
                    <a:cubicBezTo>
                      <a:pt x="750" y="2700"/>
                      <a:pt x="166" y="2491"/>
                      <a:pt x="166" y="1838"/>
                    </a:cubicBezTo>
                    <a:cubicBezTo>
                      <a:pt x="166" y="237"/>
                      <a:pt x="166" y="237"/>
                      <a:pt x="166" y="237"/>
                    </a:cubicBezTo>
                    <a:cubicBezTo>
                      <a:pt x="166" y="94"/>
                      <a:pt x="0" y="0"/>
                      <a:pt x="0" y="0"/>
                    </a:cubicBezTo>
                    <a:cubicBezTo>
                      <a:pt x="821" y="0"/>
                      <a:pt x="821" y="0"/>
                      <a:pt x="821" y="0"/>
                    </a:cubicBezTo>
                    <a:cubicBezTo>
                      <a:pt x="821" y="0"/>
                      <a:pt x="631" y="94"/>
                      <a:pt x="631" y="237"/>
                    </a:cubicBezTo>
                    <a:cubicBezTo>
                      <a:pt x="630" y="1838"/>
                      <a:pt x="630" y="1838"/>
                      <a:pt x="630" y="1838"/>
                    </a:cubicBezTo>
                    <a:cubicBezTo>
                      <a:pt x="630" y="2178"/>
                      <a:pt x="856" y="2412"/>
                      <a:pt x="1122" y="2413"/>
                    </a:cubicBezTo>
                    <a:cubicBezTo>
                      <a:pt x="1388" y="2414"/>
                      <a:pt x="1602" y="2174"/>
                      <a:pt x="1602" y="1838"/>
                    </a:cubicBezTo>
                    <a:cubicBezTo>
                      <a:pt x="1603" y="237"/>
                      <a:pt x="1603" y="237"/>
                      <a:pt x="1603" y="237"/>
                    </a:cubicBezTo>
                    <a:cubicBezTo>
                      <a:pt x="1603" y="94"/>
                      <a:pt x="1427" y="0"/>
                      <a:pt x="1427" y="0"/>
                    </a:cubicBezTo>
                    <a:close/>
                  </a:path>
                </a:pathLst>
              </a:custGeom>
              <a:solidFill>
                <a:srgbClr val="FF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en-GB" sz="1800" kern="0">
                  <a:solidFill>
                    <a:sysClr val="windowText" lastClr="000000"/>
                  </a:solidFill>
                  <a:ea typeface="Meiryo UI" panose="020B0604030504040204" pitchFamily="50" charset="-128"/>
                </a:endParaRPr>
              </a:p>
            </p:txBody>
          </p:sp>
          <p:sp>
            <p:nvSpPr>
              <p:cNvPr id="45" name="Freeform 78"/>
              <p:cNvSpPr>
                <a:spLocks/>
              </p:cNvSpPr>
              <p:nvPr userDrawn="1"/>
            </p:nvSpPr>
            <p:spPr bwMode="gray">
              <a:xfrm>
                <a:off x="8602299" y="395845"/>
                <a:ext cx="130080" cy="210866"/>
              </a:xfrm>
              <a:custGeom>
                <a:avLst/>
                <a:gdLst/>
                <a:ahLst/>
                <a:cxnLst>
                  <a:cxn ang="0">
                    <a:pos x="1467" y="479"/>
                  </a:cxn>
                  <a:cxn ang="0">
                    <a:pos x="1019" y="276"/>
                  </a:cxn>
                  <a:cxn ang="0">
                    <a:pos x="504" y="677"/>
                  </a:cxn>
                  <a:cxn ang="0">
                    <a:pos x="995" y="1174"/>
                  </a:cxn>
                  <a:cxn ang="0">
                    <a:pos x="1705" y="1974"/>
                  </a:cxn>
                  <a:cxn ang="0">
                    <a:pos x="651" y="2755"/>
                  </a:cxn>
                  <a:cxn ang="0">
                    <a:pos x="155" y="2686"/>
                  </a:cxn>
                  <a:cxn ang="0">
                    <a:pos x="0" y="2177"/>
                  </a:cxn>
                  <a:cxn ang="0">
                    <a:pos x="658" y="2466"/>
                  </a:cxn>
                  <a:cxn ang="0">
                    <a:pos x="1252" y="2030"/>
                  </a:cxn>
                  <a:cxn ang="0">
                    <a:pos x="46" y="731"/>
                  </a:cxn>
                  <a:cxn ang="0">
                    <a:pos x="973" y="0"/>
                  </a:cxn>
                  <a:cxn ang="0">
                    <a:pos x="1467" y="69"/>
                  </a:cxn>
                  <a:cxn ang="0">
                    <a:pos x="1467" y="479"/>
                  </a:cxn>
                </a:cxnLst>
                <a:rect l="0" t="0" r="r" b="b"/>
                <a:pathLst>
                  <a:path w="1707" h="2755">
                    <a:moveTo>
                      <a:pt x="1467" y="479"/>
                    </a:moveTo>
                    <a:cubicBezTo>
                      <a:pt x="1467" y="479"/>
                      <a:pt x="1352" y="277"/>
                      <a:pt x="1019" y="276"/>
                    </a:cubicBezTo>
                    <a:cubicBezTo>
                      <a:pt x="686" y="275"/>
                      <a:pt x="505" y="450"/>
                      <a:pt x="504" y="677"/>
                    </a:cubicBezTo>
                    <a:cubicBezTo>
                      <a:pt x="503" y="934"/>
                      <a:pt x="696" y="1031"/>
                      <a:pt x="995" y="1174"/>
                    </a:cubicBezTo>
                    <a:cubicBezTo>
                      <a:pt x="1279" y="1311"/>
                      <a:pt x="1707" y="1499"/>
                      <a:pt x="1705" y="1974"/>
                    </a:cubicBezTo>
                    <a:cubicBezTo>
                      <a:pt x="1704" y="2399"/>
                      <a:pt x="1327" y="2755"/>
                      <a:pt x="651" y="2755"/>
                    </a:cubicBezTo>
                    <a:cubicBezTo>
                      <a:pt x="442" y="2754"/>
                      <a:pt x="155" y="2686"/>
                      <a:pt x="155" y="2686"/>
                    </a:cubicBezTo>
                    <a:cubicBezTo>
                      <a:pt x="0" y="2177"/>
                      <a:pt x="0" y="2177"/>
                      <a:pt x="0" y="2177"/>
                    </a:cubicBezTo>
                    <a:cubicBezTo>
                      <a:pt x="143" y="2316"/>
                      <a:pt x="397" y="2466"/>
                      <a:pt x="658" y="2466"/>
                    </a:cubicBezTo>
                    <a:cubicBezTo>
                      <a:pt x="929" y="2466"/>
                      <a:pt x="1252" y="2298"/>
                      <a:pt x="1252" y="2030"/>
                    </a:cubicBezTo>
                    <a:cubicBezTo>
                      <a:pt x="1252" y="1512"/>
                      <a:pt x="46" y="1598"/>
                      <a:pt x="46" y="731"/>
                    </a:cubicBezTo>
                    <a:cubicBezTo>
                      <a:pt x="46" y="433"/>
                      <a:pt x="254" y="0"/>
                      <a:pt x="973" y="0"/>
                    </a:cubicBezTo>
                    <a:cubicBezTo>
                      <a:pt x="1207" y="0"/>
                      <a:pt x="1467" y="69"/>
                      <a:pt x="1467" y="69"/>
                    </a:cubicBezTo>
                    <a:lnTo>
                      <a:pt x="1467" y="479"/>
                    </a:lnTo>
                    <a:close/>
                  </a:path>
                </a:pathLst>
              </a:custGeom>
              <a:solidFill>
                <a:srgbClr val="FF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en-GB" sz="1800" kern="0">
                  <a:solidFill>
                    <a:sysClr val="windowText" lastClr="000000"/>
                  </a:solidFill>
                  <a:ea typeface="Meiryo UI" panose="020B0604030504040204" pitchFamily="50" charset="-128"/>
                </a:endParaRPr>
              </a:p>
            </p:txBody>
          </p:sp>
        </p:grpSp>
      </p:grpSp>
      <p:sp>
        <p:nvSpPr>
          <p:cNvPr id="14" name="スライド番号プレースホルダー 4"/>
          <p:cNvSpPr>
            <a:spLocks noGrp="1"/>
          </p:cNvSpPr>
          <p:nvPr>
            <p:ph type="sldNum" sz="quarter" idx="4"/>
          </p:nvPr>
        </p:nvSpPr>
        <p:spPr>
          <a:xfrm>
            <a:off x="4300539" y="4937190"/>
            <a:ext cx="539750" cy="201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US" altLang="ja-JP" smtClean="0"/>
            </a:lvl1pPr>
          </a:lstStyle>
          <a:p>
            <a:fld id="{0B5B02AC-72C7-48A8-B1FA-68CE81373FC9}" type="slidenum">
              <a:rPr lang="en-US" altLang="ja-JP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15348105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コンテンツページ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図 25">
            <a:extLst>
              <a:ext uri="{FF2B5EF4-FFF2-40B4-BE49-F238E27FC236}">
                <a16:creationId xmlns:a16="http://schemas.microsoft.com/office/drawing/2014/main" id="{016C76EE-9E8E-41C3-846C-82BCCC803A8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0"/>
            <a:ext cx="9144000" cy="5143500"/>
          </a:xfrm>
          <a:prstGeom prst="rect">
            <a:avLst/>
          </a:prstGeom>
        </p:spPr>
      </p:pic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257176" y="253923"/>
            <a:ext cx="7564437" cy="599890"/>
          </a:xfrm>
        </p:spPr>
        <p:txBody>
          <a:bodyPr/>
          <a:lstStyle>
            <a:lvl1pPr>
              <a:defRPr sz="2560" b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lang="ja-JP" altLang="en-US"/>
              <a:t>タイトル（</a:t>
            </a:r>
            <a:r>
              <a:rPr lang="en-US" altLang="ja-JP"/>
              <a:t>20</a:t>
            </a:r>
            <a:r>
              <a:rPr lang="ja-JP" altLang="en-US"/>
              <a:t>文字以内）</a:t>
            </a:r>
          </a:p>
        </p:txBody>
      </p:sp>
      <p:sp>
        <p:nvSpPr>
          <p:cNvPr id="13" name="フッター プレースホルダー 3"/>
          <p:cNvSpPr>
            <a:spLocks noGrp="1"/>
          </p:cNvSpPr>
          <p:nvPr>
            <p:ph type="ftr" sz="quarter" idx="10"/>
          </p:nvPr>
        </p:nvSpPr>
        <p:spPr bwMode="gray"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altLang="ja-JP" smtClean="0">
                <a:solidFill>
                  <a:srgbClr val="000000"/>
                </a:solidFill>
              </a:defRPr>
            </a:lvl1pPr>
          </a:lstStyle>
          <a:p>
            <a:r>
              <a:rPr lang="en-US"/>
              <a:t>Copyright 2021 FUJITSU LIMITED</a:t>
            </a:r>
          </a:p>
        </p:txBody>
      </p:sp>
      <p:sp>
        <p:nvSpPr>
          <p:cNvPr id="14" name="スライド番号プレースホルダー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pPr>
              <a:defRPr/>
            </a:pPr>
            <a:fld id="{0B5B02AC-72C7-48A8-B1FA-68CE81373FC9}" type="slidenum">
              <a:rPr lang="de-DE" altLang="ja-JP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 altLang="ja-JP">
              <a:solidFill>
                <a:srgbClr val="000000"/>
              </a:solidFill>
            </a:endParaRPr>
          </a:p>
        </p:txBody>
      </p:sp>
      <p:sp>
        <p:nvSpPr>
          <p:cNvPr id="16" name="AutoShape 11"/>
          <p:cNvSpPr>
            <a:spLocks noChangeAspect="1" noChangeArrowheads="1" noTextEdit="1"/>
          </p:cNvSpPr>
          <p:nvPr userDrawn="1"/>
        </p:nvSpPr>
        <p:spPr bwMode="gray">
          <a:xfrm>
            <a:off x="7607300" y="114266"/>
            <a:ext cx="1417638" cy="7919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ja-JP" altLang="en-US" sz="1600"/>
          </a:p>
        </p:txBody>
      </p:sp>
      <p:grpSp>
        <p:nvGrpSpPr>
          <p:cNvPr id="25" name="グループ化 24"/>
          <p:cNvGrpSpPr/>
          <p:nvPr userDrawn="1"/>
        </p:nvGrpSpPr>
        <p:grpSpPr bwMode="gray">
          <a:xfrm>
            <a:off x="8010525" y="249163"/>
            <a:ext cx="892176" cy="434841"/>
            <a:chOff x="8010525" y="249238"/>
            <a:chExt cx="892176" cy="434975"/>
          </a:xfrm>
        </p:grpSpPr>
        <p:sp>
          <p:nvSpPr>
            <p:cNvPr id="17" name="Freeform 13"/>
            <p:cNvSpPr>
              <a:spLocks/>
            </p:cNvSpPr>
            <p:nvPr userDrawn="1"/>
          </p:nvSpPr>
          <p:spPr bwMode="gray">
            <a:xfrm>
              <a:off x="8305800" y="249238"/>
              <a:ext cx="179388" cy="139700"/>
            </a:xfrm>
            <a:custGeom>
              <a:avLst/>
              <a:gdLst>
                <a:gd name="T0" fmla="*/ 961 w 2365"/>
                <a:gd name="T1" fmla="*/ 764 h 1825"/>
                <a:gd name="T2" fmla="*/ 599 w 2365"/>
                <a:gd name="T3" fmla="*/ 642 h 1825"/>
                <a:gd name="T4" fmla="*/ 1 w 2365"/>
                <a:gd name="T5" fmla="*/ 1235 h 1825"/>
                <a:gd name="T6" fmla="*/ 599 w 2365"/>
                <a:gd name="T7" fmla="*/ 1825 h 1825"/>
                <a:gd name="T8" fmla="*/ 1053 w 2365"/>
                <a:gd name="T9" fmla="*/ 1619 h 1825"/>
                <a:gd name="T10" fmla="*/ 1053 w 2365"/>
                <a:gd name="T11" fmla="*/ 1293 h 1825"/>
                <a:gd name="T12" fmla="*/ 771 w 2365"/>
                <a:gd name="T13" fmla="*/ 1568 h 1825"/>
                <a:gd name="T14" fmla="*/ 599 w 2365"/>
                <a:gd name="T15" fmla="*/ 1604 h 1825"/>
                <a:gd name="T16" fmla="*/ 225 w 2365"/>
                <a:gd name="T17" fmla="*/ 1235 h 1825"/>
                <a:gd name="T18" fmla="*/ 599 w 2365"/>
                <a:gd name="T19" fmla="*/ 863 h 1825"/>
                <a:gd name="T20" fmla="*/ 861 w 2365"/>
                <a:gd name="T21" fmla="*/ 972 h 1825"/>
                <a:gd name="T22" fmla="*/ 1093 w 2365"/>
                <a:gd name="T23" fmla="*/ 1239 h 1825"/>
                <a:gd name="T24" fmla="*/ 1630 w 2365"/>
                <a:gd name="T25" fmla="*/ 1473 h 1825"/>
                <a:gd name="T26" fmla="*/ 2365 w 2365"/>
                <a:gd name="T27" fmla="*/ 741 h 1825"/>
                <a:gd name="T28" fmla="*/ 1630 w 2365"/>
                <a:gd name="T29" fmla="*/ 0 h 1825"/>
                <a:gd name="T30" fmla="*/ 1053 w 2365"/>
                <a:gd name="T31" fmla="*/ 295 h 1825"/>
                <a:gd name="T32" fmla="*/ 1053 w 2365"/>
                <a:gd name="T33" fmla="*/ 735 h 1825"/>
                <a:gd name="T34" fmla="*/ 1630 w 2365"/>
                <a:gd name="T35" fmla="*/ 232 h 1825"/>
                <a:gd name="T36" fmla="*/ 2134 w 2365"/>
                <a:gd name="T37" fmla="*/ 741 h 1825"/>
                <a:gd name="T38" fmla="*/ 1630 w 2365"/>
                <a:gd name="T39" fmla="*/ 1245 h 1825"/>
                <a:gd name="T40" fmla="*/ 1303 w 2365"/>
                <a:gd name="T41" fmla="*/ 1125 h 1825"/>
                <a:gd name="T42" fmla="*/ 961 w 2365"/>
                <a:gd name="T43" fmla="*/ 764 h 18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65" h="1825">
                  <a:moveTo>
                    <a:pt x="961" y="764"/>
                  </a:moveTo>
                  <a:cubicBezTo>
                    <a:pt x="875" y="688"/>
                    <a:pt x="736" y="643"/>
                    <a:pt x="599" y="642"/>
                  </a:cubicBezTo>
                  <a:cubicBezTo>
                    <a:pt x="270" y="641"/>
                    <a:pt x="2" y="900"/>
                    <a:pt x="1" y="1235"/>
                  </a:cubicBezTo>
                  <a:cubicBezTo>
                    <a:pt x="0" y="1563"/>
                    <a:pt x="270" y="1824"/>
                    <a:pt x="599" y="1825"/>
                  </a:cubicBezTo>
                  <a:cubicBezTo>
                    <a:pt x="783" y="1825"/>
                    <a:pt x="943" y="1751"/>
                    <a:pt x="1053" y="1619"/>
                  </a:cubicBezTo>
                  <a:cubicBezTo>
                    <a:pt x="1053" y="1293"/>
                    <a:pt x="1053" y="1293"/>
                    <a:pt x="1053" y="1293"/>
                  </a:cubicBezTo>
                  <a:cubicBezTo>
                    <a:pt x="994" y="1394"/>
                    <a:pt x="877" y="1524"/>
                    <a:pt x="771" y="1568"/>
                  </a:cubicBezTo>
                  <a:cubicBezTo>
                    <a:pt x="717" y="1590"/>
                    <a:pt x="662" y="1604"/>
                    <a:pt x="599" y="1604"/>
                  </a:cubicBezTo>
                  <a:cubicBezTo>
                    <a:pt x="394" y="1604"/>
                    <a:pt x="225" y="1445"/>
                    <a:pt x="225" y="1235"/>
                  </a:cubicBezTo>
                  <a:cubicBezTo>
                    <a:pt x="225" y="1041"/>
                    <a:pt x="380" y="862"/>
                    <a:pt x="599" y="863"/>
                  </a:cubicBezTo>
                  <a:cubicBezTo>
                    <a:pt x="701" y="863"/>
                    <a:pt x="793" y="905"/>
                    <a:pt x="861" y="972"/>
                  </a:cubicBezTo>
                  <a:cubicBezTo>
                    <a:pt x="931" y="1040"/>
                    <a:pt x="1041" y="1183"/>
                    <a:pt x="1093" y="1239"/>
                  </a:cubicBezTo>
                  <a:cubicBezTo>
                    <a:pt x="1227" y="1383"/>
                    <a:pt x="1419" y="1473"/>
                    <a:pt x="1630" y="1473"/>
                  </a:cubicBezTo>
                  <a:cubicBezTo>
                    <a:pt x="2036" y="1474"/>
                    <a:pt x="2365" y="1146"/>
                    <a:pt x="2365" y="741"/>
                  </a:cubicBezTo>
                  <a:cubicBezTo>
                    <a:pt x="2365" y="336"/>
                    <a:pt x="2035" y="0"/>
                    <a:pt x="1630" y="0"/>
                  </a:cubicBezTo>
                  <a:cubicBezTo>
                    <a:pt x="1395" y="0"/>
                    <a:pt x="1187" y="122"/>
                    <a:pt x="1053" y="295"/>
                  </a:cubicBezTo>
                  <a:cubicBezTo>
                    <a:pt x="1053" y="735"/>
                    <a:pt x="1053" y="735"/>
                    <a:pt x="1053" y="735"/>
                  </a:cubicBezTo>
                  <a:cubicBezTo>
                    <a:pt x="1155" y="455"/>
                    <a:pt x="1340" y="232"/>
                    <a:pt x="1630" y="232"/>
                  </a:cubicBezTo>
                  <a:cubicBezTo>
                    <a:pt x="1909" y="232"/>
                    <a:pt x="2135" y="463"/>
                    <a:pt x="2134" y="741"/>
                  </a:cubicBezTo>
                  <a:cubicBezTo>
                    <a:pt x="2134" y="1020"/>
                    <a:pt x="1909" y="1246"/>
                    <a:pt x="1630" y="1245"/>
                  </a:cubicBezTo>
                  <a:cubicBezTo>
                    <a:pt x="1506" y="1244"/>
                    <a:pt x="1391" y="1199"/>
                    <a:pt x="1303" y="1125"/>
                  </a:cubicBezTo>
                  <a:cubicBezTo>
                    <a:pt x="1194" y="1040"/>
                    <a:pt x="1074" y="860"/>
                    <a:pt x="961" y="764"/>
                  </a:cubicBezTo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 sz="1600"/>
            </a:p>
          </p:txBody>
        </p:sp>
        <p:sp>
          <p:nvSpPr>
            <p:cNvPr id="18" name="Freeform 14"/>
            <p:cNvSpPr>
              <a:spLocks/>
            </p:cNvSpPr>
            <p:nvPr userDrawn="1"/>
          </p:nvSpPr>
          <p:spPr bwMode="gray">
            <a:xfrm>
              <a:off x="8010525" y="401638"/>
              <a:ext cx="123825" cy="201613"/>
            </a:xfrm>
            <a:custGeom>
              <a:avLst/>
              <a:gdLst>
                <a:gd name="T0" fmla="*/ 0 w 1624"/>
                <a:gd name="T1" fmla="*/ 0 h 2651"/>
                <a:gd name="T2" fmla="*/ 1624 w 1624"/>
                <a:gd name="T3" fmla="*/ 0 h 2651"/>
                <a:gd name="T4" fmla="*/ 1624 w 1624"/>
                <a:gd name="T5" fmla="*/ 452 h 2651"/>
                <a:gd name="T6" fmla="*/ 1365 w 1624"/>
                <a:gd name="T7" fmla="*/ 273 h 2651"/>
                <a:gd name="T8" fmla="*/ 613 w 1624"/>
                <a:gd name="T9" fmla="*/ 273 h 2651"/>
                <a:gd name="T10" fmla="*/ 613 w 1624"/>
                <a:gd name="T11" fmla="*/ 1053 h 2651"/>
                <a:gd name="T12" fmla="*/ 1428 w 1624"/>
                <a:gd name="T13" fmla="*/ 1053 h 2651"/>
                <a:gd name="T14" fmla="*/ 1428 w 1624"/>
                <a:gd name="T15" fmla="*/ 1467 h 2651"/>
                <a:gd name="T16" fmla="*/ 1205 w 1624"/>
                <a:gd name="T17" fmla="*/ 1335 h 2651"/>
                <a:gd name="T18" fmla="*/ 613 w 1624"/>
                <a:gd name="T19" fmla="*/ 1335 h 2651"/>
                <a:gd name="T20" fmla="*/ 613 w 1624"/>
                <a:gd name="T21" fmla="*/ 2401 h 2651"/>
                <a:gd name="T22" fmla="*/ 784 w 1624"/>
                <a:gd name="T23" fmla="*/ 2651 h 2651"/>
                <a:gd name="T24" fmla="*/ 11 w 1624"/>
                <a:gd name="T25" fmla="*/ 2651 h 2651"/>
                <a:gd name="T26" fmla="*/ 173 w 1624"/>
                <a:gd name="T27" fmla="*/ 2401 h 2651"/>
                <a:gd name="T28" fmla="*/ 173 w 1624"/>
                <a:gd name="T29" fmla="*/ 278 h 2651"/>
                <a:gd name="T30" fmla="*/ 0 w 1624"/>
                <a:gd name="T31" fmla="*/ 0 h 2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624" h="2651">
                  <a:moveTo>
                    <a:pt x="0" y="0"/>
                  </a:moveTo>
                  <a:cubicBezTo>
                    <a:pt x="1624" y="0"/>
                    <a:pt x="1624" y="0"/>
                    <a:pt x="1624" y="0"/>
                  </a:cubicBezTo>
                  <a:cubicBezTo>
                    <a:pt x="1624" y="452"/>
                    <a:pt x="1624" y="452"/>
                    <a:pt x="1624" y="452"/>
                  </a:cubicBezTo>
                  <a:cubicBezTo>
                    <a:pt x="1624" y="452"/>
                    <a:pt x="1540" y="274"/>
                    <a:pt x="1365" y="273"/>
                  </a:cubicBezTo>
                  <a:cubicBezTo>
                    <a:pt x="613" y="273"/>
                    <a:pt x="613" y="273"/>
                    <a:pt x="613" y="273"/>
                  </a:cubicBezTo>
                  <a:cubicBezTo>
                    <a:pt x="613" y="1053"/>
                    <a:pt x="613" y="1053"/>
                    <a:pt x="613" y="1053"/>
                  </a:cubicBezTo>
                  <a:cubicBezTo>
                    <a:pt x="1428" y="1053"/>
                    <a:pt x="1428" y="1053"/>
                    <a:pt x="1428" y="1053"/>
                  </a:cubicBezTo>
                  <a:cubicBezTo>
                    <a:pt x="1428" y="1467"/>
                    <a:pt x="1428" y="1467"/>
                    <a:pt x="1428" y="1467"/>
                  </a:cubicBezTo>
                  <a:cubicBezTo>
                    <a:pt x="1428" y="1467"/>
                    <a:pt x="1402" y="1335"/>
                    <a:pt x="1205" y="1335"/>
                  </a:cubicBezTo>
                  <a:cubicBezTo>
                    <a:pt x="613" y="1335"/>
                    <a:pt x="613" y="1335"/>
                    <a:pt x="613" y="1335"/>
                  </a:cubicBezTo>
                  <a:cubicBezTo>
                    <a:pt x="613" y="2401"/>
                    <a:pt x="613" y="2401"/>
                    <a:pt x="613" y="2401"/>
                  </a:cubicBezTo>
                  <a:cubicBezTo>
                    <a:pt x="613" y="2558"/>
                    <a:pt x="784" y="2651"/>
                    <a:pt x="784" y="2651"/>
                  </a:cubicBezTo>
                  <a:cubicBezTo>
                    <a:pt x="11" y="2651"/>
                    <a:pt x="11" y="2651"/>
                    <a:pt x="11" y="2651"/>
                  </a:cubicBezTo>
                  <a:cubicBezTo>
                    <a:pt x="11" y="2651"/>
                    <a:pt x="173" y="2569"/>
                    <a:pt x="173" y="2401"/>
                  </a:cubicBezTo>
                  <a:cubicBezTo>
                    <a:pt x="173" y="278"/>
                    <a:pt x="173" y="278"/>
                    <a:pt x="173" y="278"/>
                  </a:cubicBezTo>
                  <a:cubicBezTo>
                    <a:pt x="173" y="9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 sz="1600"/>
            </a:p>
          </p:txBody>
        </p:sp>
        <p:sp>
          <p:nvSpPr>
            <p:cNvPr id="19" name="Freeform 15"/>
            <p:cNvSpPr>
              <a:spLocks/>
            </p:cNvSpPr>
            <p:nvPr userDrawn="1"/>
          </p:nvSpPr>
          <p:spPr bwMode="gray">
            <a:xfrm>
              <a:off x="8304213" y="401638"/>
              <a:ext cx="80963" cy="282575"/>
            </a:xfrm>
            <a:custGeom>
              <a:avLst/>
              <a:gdLst>
                <a:gd name="T0" fmla="*/ 246 w 1072"/>
                <a:gd name="T1" fmla="*/ 0 h 3696"/>
                <a:gd name="T2" fmla="*/ 1072 w 1072"/>
                <a:gd name="T3" fmla="*/ 0 h 3696"/>
                <a:gd name="T4" fmla="*/ 887 w 1072"/>
                <a:gd name="T5" fmla="*/ 230 h 3696"/>
                <a:gd name="T6" fmla="*/ 887 w 1072"/>
                <a:gd name="T7" fmla="*/ 2717 h 3696"/>
                <a:gd name="T8" fmla="*/ 0 w 1072"/>
                <a:gd name="T9" fmla="*/ 3693 h 3696"/>
                <a:gd name="T10" fmla="*/ 423 w 1072"/>
                <a:gd name="T11" fmla="*/ 2717 h 3696"/>
                <a:gd name="T12" fmla="*/ 423 w 1072"/>
                <a:gd name="T13" fmla="*/ 230 h 3696"/>
                <a:gd name="T14" fmla="*/ 246 w 1072"/>
                <a:gd name="T15" fmla="*/ 0 h 36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72" h="3696">
                  <a:moveTo>
                    <a:pt x="246" y="0"/>
                  </a:moveTo>
                  <a:cubicBezTo>
                    <a:pt x="1072" y="0"/>
                    <a:pt x="1072" y="0"/>
                    <a:pt x="1072" y="0"/>
                  </a:cubicBezTo>
                  <a:cubicBezTo>
                    <a:pt x="1072" y="0"/>
                    <a:pt x="887" y="87"/>
                    <a:pt x="887" y="230"/>
                  </a:cubicBezTo>
                  <a:cubicBezTo>
                    <a:pt x="887" y="2717"/>
                    <a:pt x="887" y="2717"/>
                    <a:pt x="887" y="2717"/>
                  </a:cubicBezTo>
                  <a:cubicBezTo>
                    <a:pt x="887" y="3558"/>
                    <a:pt x="44" y="3696"/>
                    <a:pt x="0" y="3693"/>
                  </a:cubicBezTo>
                  <a:cubicBezTo>
                    <a:pt x="72" y="3647"/>
                    <a:pt x="422" y="3349"/>
                    <a:pt x="423" y="2717"/>
                  </a:cubicBezTo>
                  <a:cubicBezTo>
                    <a:pt x="423" y="230"/>
                    <a:pt x="423" y="230"/>
                    <a:pt x="423" y="230"/>
                  </a:cubicBezTo>
                  <a:cubicBezTo>
                    <a:pt x="424" y="96"/>
                    <a:pt x="246" y="0"/>
                    <a:pt x="246" y="0"/>
                  </a:cubicBez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 sz="1600"/>
            </a:p>
          </p:txBody>
        </p:sp>
        <p:sp>
          <p:nvSpPr>
            <p:cNvPr id="20" name="Freeform 16"/>
            <p:cNvSpPr>
              <a:spLocks/>
            </p:cNvSpPr>
            <p:nvPr userDrawn="1"/>
          </p:nvSpPr>
          <p:spPr bwMode="gray">
            <a:xfrm>
              <a:off x="8394700" y="401638"/>
              <a:ext cx="63500" cy="201613"/>
            </a:xfrm>
            <a:custGeom>
              <a:avLst/>
              <a:gdLst>
                <a:gd name="T0" fmla="*/ 0 w 828"/>
                <a:gd name="T1" fmla="*/ 0 h 2653"/>
                <a:gd name="T2" fmla="*/ 828 w 828"/>
                <a:gd name="T3" fmla="*/ 0 h 2653"/>
                <a:gd name="T4" fmla="*/ 645 w 828"/>
                <a:gd name="T5" fmla="*/ 235 h 2653"/>
                <a:gd name="T6" fmla="*/ 645 w 828"/>
                <a:gd name="T7" fmla="*/ 2401 h 2653"/>
                <a:gd name="T8" fmla="*/ 828 w 828"/>
                <a:gd name="T9" fmla="*/ 2653 h 2653"/>
                <a:gd name="T10" fmla="*/ 0 w 828"/>
                <a:gd name="T11" fmla="*/ 2653 h 2653"/>
                <a:gd name="T12" fmla="*/ 184 w 828"/>
                <a:gd name="T13" fmla="*/ 2401 h 2653"/>
                <a:gd name="T14" fmla="*/ 184 w 828"/>
                <a:gd name="T15" fmla="*/ 235 h 2653"/>
                <a:gd name="T16" fmla="*/ 0 w 828"/>
                <a:gd name="T17" fmla="*/ 0 h 26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28" h="2653">
                  <a:moveTo>
                    <a:pt x="0" y="0"/>
                  </a:moveTo>
                  <a:cubicBezTo>
                    <a:pt x="828" y="0"/>
                    <a:pt x="828" y="0"/>
                    <a:pt x="828" y="0"/>
                  </a:cubicBezTo>
                  <a:cubicBezTo>
                    <a:pt x="828" y="0"/>
                    <a:pt x="645" y="89"/>
                    <a:pt x="645" y="235"/>
                  </a:cubicBezTo>
                  <a:cubicBezTo>
                    <a:pt x="645" y="2401"/>
                    <a:pt x="645" y="2401"/>
                    <a:pt x="645" y="2401"/>
                  </a:cubicBezTo>
                  <a:cubicBezTo>
                    <a:pt x="645" y="2556"/>
                    <a:pt x="828" y="2653"/>
                    <a:pt x="828" y="2653"/>
                  </a:cubicBezTo>
                  <a:cubicBezTo>
                    <a:pt x="0" y="2653"/>
                    <a:pt x="0" y="2653"/>
                    <a:pt x="0" y="2653"/>
                  </a:cubicBezTo>
                  <a:cubicBezTo>
                    <a:pt x="0" y="2653"/>
                    <a:pt x="184" y="2557"/>
                    <a:pt x="184" y="2401"/>
                  </a:cubicBezTo>
                  <a:cubicBezTo>
                    <a:pt x="184" y="235"/>
                    <a:pt x="184" y="235"/>
                    <a:pt x="184" y="235"/>
                  </a:cubicBezTo>
                  <a:cubicBezTo>
                    <a:pt x="184" y="8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 sz="1600"/>
            </a:p>
          </p:txBody>
        </p:sp>
        <p:sp>
          <p:nvSpPr>
            <p:cNvPr id="21" name="Freeform 17"/>
            <p:cNvSpPr>
              <a:spLocks/>
            </p:cNvSpPr>
            <p:nvPr userDrawn="1"/>
          </p:nvSpPr>
          <p:spPr bwMode="gray">
            <a:xfrm>
              <a:off x="8458200" y="401638"/>
              <a:ext cx="150813" cy="201613"/>
            </a:xfrm>
            <a:custGeom>
              <a:avLst/>
              <a:gdLst>
                <a:gd name="T0" fmla="*/ 161 w 1984"/>
                <a:gd name="T1" fmla="*/ 0 h 2651"/>
                <a:gd name="T2" fmla="*/ 1984 w 1984"/>
                <a:gd name="T3" fmla="*/ 0 h 2651"/>
                <a:gd name="T4" fmla="*/ 1829 w 1984"/>
                <a:gd name="T5" fmla="*/ 482 h 2651"/>
                <a:gd name="T6" fmla="*/ 1607 w 1984"/>
                <a:gd name="T7" fmla="*/ 279 h 2651"/>
                <a:gd name="T8" fmla="*/ 1229 w 1984"/>
                <a:gd name="T9" fmla="*/ 279 h 2651"/>
                <a:gd name="T10" fmla="*/ 1229 w 1984"/>
                <a:gd name="T11" fmla="*/ 2401 h 2651"/>
                <a:gd name="T12" fmla="*/ 1407 w 1984"/>
                <a:gd name="T13" fmla="*/ 2651 h 2651"/>
                <a:gd name="T14" fmla="*/ 595 w 1984"/>
                <a:gd name="T15" fmla="*/ 2651 h 2651"/>
                <a:gd name="T16" fmla="*/ 771 w 1984"/>
                <a:gd name="T17" fmla="*/ 2401 h 2651"/>
                <a:gd name="T18" fmla="*/ 771 w 1984"/>
                <a:gd name="T19" fmla="*/ 279 h 2651"/>
                <a:gd name="T20" fmla="*/ 315 w 1984"/>
                <a:gd name="T21" fmla="*/ 279 h 2651"/>
                <a:gd name="T22" fmla="*/ 0 w 1984"/>
                <a:gd name="T23" fmla="*/ 522 h 2651"/>
                <a:gd name="T24" fmla="*/ 161 w 1984"/>
                <a:gd name="T25" fmla="*/ 0 h 2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84" h="2651">
                  <a:moveTo>
                    <a:pt x="161" y="0"/>
                  </a:moveTo>
                  <a:cubicBezTo>
                    <a:pt x="1984" y="0"/>
                    <a:pt x="1984" y="0"/>
                    <a:pt x="1984" y="0"/>
                  </a:cubicBezTo>
                  <a:cubicBezTo>
                    <a:pt x="1829" y="482"/>
                    <a:pt x="1829" y="482"/>
                    <a:pt x="1829" y="482"/>
                  </a:cubicBezTo>
                  <a:cubicBezTo>
                    <a:pt x="1829" y="482"/>
                    <a:pt x="1783" y="279"/>
                    <a:pt x="1607" y="279"/>
                  </a:cubicBezTo>
                  <a:cubicBezTo>
                    <a:pt x="1229" y="279"/>
                    <a:pt x="1229" y="279"/>
                    <a:pt x="1229" y="279"/>
                  </a:cubicBezTo>
                  <a:cubicBezTo>
                    <a:pt x="1229" y="2401"/>
                    <a:pt x="1229" y="2401"/>
                    <a:pt x="1229" y="2401"/>
                  </a:cubicBezTo>
                  <a:cubicBezTo>
                    <a:pt x="1229" y="2535"/>
                    <a:pt x="1407" y="2651"/>
                    <a:pt x="1407" y="2651"/>
                  </a:cubicBezTo>
                  <a:cubicBezTo>
                    <a:pt x="595" y="2651"/>
                    <a:pt x="595" y="2651"/>
                    <a:pt x="595" y="2651"/>
                  </a:cubicBezTo>
                  <a:cubicBezTo>
                    <a:pt x="595" y="2651"/>
                    <a:pt x="771" y="2547"/>
                    <a:pt x="771" y="2401"/>
                  </a:cubicBezTo>
                  <a:cubicBezTo>
                    <a:pt x="771" y="279"/>
                    <a:pt x="771" y="279"/>
                    <a:pt x="771" y="279"/>
                  </a:cubicBezTo>
                  <a:cubicBezTo>
                    <a:pt x="315" y="279"/>
                    <a:pt x="315" y="279"/>
                    <a:pt x="315" y="279"/>
                  </a:cubicBezTo>
                  <a:cubicBezTo>
                    <a:pt x="185" y="280"/>
                    <a:pt x="0" y="522"/>
                    <a:pt x="0" y="522"/>
                  </a:cubicBezTo>
                  <a:lnTo>
                    <a:pt x="161" y="0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 sz="1600"/>
            </a:p>
          </p:txBody>
        </p:sp>
        <p:sp>
          <p:nvSpPr>
            <p:cNvPr id="22" name="Freeform 18"/>
            <p:cNvSpPr>
              <a:spLocks/>
            </p:cNvSpPr>
            <p:nvPr userDrawn="1"/>
          </p:nvSpPr>
          <p:spPr bwMode="gray">
            <a:xfrm>
              <a:off x="8732838" y="401638"/>
              <a:ext cx="169863" cy="204788"/>
            </a:xfrm>
            <a:custGeom>
              <a:avLst/>
              <a:gdLst>
                <a:gd name="T0" fmla="*/ 1420 w 2219"/>
                <a:gd name="T1" fmla="*/ 0 h 2693"/>
                <a:gd name="T2" fmla="*/ 2219 w 2219"/>
                <a:gd name="T3" fmla="*/ 0 h 2693"/>
                <a:gd name="T4" fmla="*/ 2048 w 2219"/>
                <a:gd name="T5" fmla="*/ 234 h 2693"/>
                <a:gd name="T6" fmla="*/ 2048 w 2219"/>
                <a:gd name="T7" fmla="*/ 1840 h 2693"/>
                <a:gd name="T8" fmla="*/ 1131 w 2219"/>
                <a:gd name="T9" fmla="*/ 2693 h 2693"/>
                <a:gd name="T10" fmla="*/ 176 w 2219"/>
                <a:gd name="T11" fmla="*/ 1840 h 2693"/>
                <a:gd name="T12" fmla="*/ 176 w 2219"/>
                <a:gd name="T13" fmla="*/ 234 h 2693"/>
                <a:gd name="T14" fmla="*/ 0 w 2219"/>
                <a:gd name="T15" fmla="*/ 0 h 2693"/>
                <a:gd name="T16" fmla="*/ 821 w 2219"/>
                <a:gd name="T17" fmla="*/ 0 h 2693"/>
                <a:gd name="T18" fmla="*/ 638 w 2219"/>
                <a:gd name="T19" fmla="*/ 234 h 2693"/>
                <a:gd name="T20" fmla="*/ 638 w 2219"/>
                <a:gd name="T21" fmla="*/ 1840 h 2693"/>
                <a:gd name="T22" fmla="*/ 1131 w 2219"/>
                <a:gd name="T23" fmla="*/ 2406 h 2693"/>
                <a:gd name="T24" fmla="*/ 1601 w 2219"/>
                <a:gd name="T25" fmla="*/ 1840 h 2693"/>
                <a:gd name="T26" fmla="*/ 1601 w 2219"/>
                <a:gd name="T27" fmla="*/ 234 h 2693"/>
                <a:gd name="T28" fmla="*/ 1420 w 2219"/>
                <a:gd name="T29" fmla="*/ 0 h 26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219" h="2693">
                  <a:moveTo>
                    <a:pt x="1420" y="0"/>
                  </a:moveTo>
                  <a:cubicBezTo>
                    <a:pt x="2219" y="0"/>
                    <a:pt x="2219" y="0"/>
                    <a:pt x="2219" y="0"/>
                  </a:cubicBezTo>
                  <a:cubicBezTo>
                    <a:pt x="2219" y="0"/>
                    <a:pt x="2048" y="91"/>
                    <a:pt x="2048" y="234"/>
                  </a:cubicBezTo>
                  <a:cubicBezTo>
                    <a:pt x="2048" y="1840"/>
                    <a:pt x="2048" y="1840"/>
                    <a:pt x="2048" y="1840"/>
                  </a:cubicBezTo>
                  <a:cubicBezTo>
                    <a:pt x="2047" y="2492"/>
                    <a:pt x="1506" y="2693"/>
                    <a:pt x="1131" y="2693"/>
                  </a:cubicBezTo>
                  <a:cubicBezTo>
                    <a:pt x="759" y="2693"/>
                    <a:pt x="175" y="2490"/>
                    <a:pt x="176" y="1840"/>
                  </a:cubicBezTo>
                  <a:cubicBezTo>
                    <a:pt x="176" y="234"/>
                    <a:pt x="176" y="234"/>
                    <a:pt x="176" y="234"/>
                  </a:cubicBezTo>
                  <a:cubicBezTo>
                    <a:pt x="176" y="91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8" y="88"/>
                    <a:pt x="638" y="234"/>
                  </a:cubicBezTo>
                  <a:cubicBezTo>
                    <a:pt x="638" y="1840"/>
                    <a:pt x="638" y="1840"/>
                    <a:pt x="638" y="1840"/>
                  </a:cubicBezTo>
                  <a:cubicBezTo>
                    <a:pt x="638" y="2182"/>
                    <a:pt x="865" y="2406"/>
                    <a:pt x="1131" y="2406"/>
                  </a:cubicBezTo>
                  <a:cubicBezTo>
                    <a:pt x="1397" y="2406"/>
                    <a:pt x="1600" y="2173"/>
                    <a:pt x="1601" y="1840"/>
                  </a:cubicBezTo>
                  <a:cubicBezTo>
                    <a:pt x="1601" y="234"/>
                    <a:pt x="1601" y="234"/>
                    <a:pt x="1601" y="234"/>
                  </a:cubicBezTo>
                  <a:cubicBezTo>
                    <a:pt x="1601" y="91"/>
                    <a:pt x="1420" y="0"/>
                    <a:pt x="1420" y="0"/>
                  </a:cubicBez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 sz="1600"/>
            </a:p>
          </p:txBody>
        </p:sp>
        <p:sp>
          <p:nvSpPr>
            <p:cNvPr id="23" name="Freeform 19"/>
            <p:cNvSpPr>
              <a:spLocks/>
            </p:cNvSpPr>
            <p:nvPr userDrawn="1"/>
          </p:nvSpPr>
          <p:spPr bwMode="gray">
            <a:xfrm>
              <a:off x="8140700" y="401638"/>
              <a:ext cx="169863" cy="206375"/>
            </a:xfrm>
            <a:custGeom>
              <a:avLst/>
              <a:gdLst>
                <a:gd name="T0" fmla="*/ 1427 w 2240"/>
                <a:gd name="T1" fmla="*/ 0 h 2700"/>
                <a:gd name="T2" fmla="*/ 2240 w 2240"/>
                <a:gd name="T3" fmla="*/ 0 h 2700"/>
                <a:gd name="T4" fmla="*/ 2068 w 2240"/>
                <a:gd name="T5" fmla="*/ 237 h 2700"/>
                <a:gd name="T6" fmla="*/ 2067 w 2240"/>
                <a:gd name="T7" fmla="*/ 1838 h 2700"/>
                <a:gd name="T8" fmla="*/ 1122 w 2240"/>
                <a:gd name="T9" fmla="*/ 2700 h 2700"/>
                <a:gd name="T10" fmla="*/ 166 w 2240"/>
                <a:gd name="T11" fmla="*/ 1838 h 2700"/>
                <a:gd name="T12" fmla="*/ 166 w 2240"/>
                <a:gd name="T13" fmla="*/ 237 h 2700"/>
                <a:gd name="T14" fmla="*/ 0 w 2240"/>
                <a:gd name="T15" fmla="*/ 0 h 2700"/>
                <a:gd name="T16" fmla="*/ 821 w 2240"/>
                <a:gd name="T17" fmla="*/ 0 h 2700"/>
                <a:gd name="T18" fmla="*/ 631 w 2240"/>
                <a:gd name="T19" fmla="*/ 237 h 2700"/>
                <a:gd name="T20" fmla="*/ 630 w 2240"/>
                <a:gd name="T21" fmla="*/ 1838 h 2700"/>
                <a:gd name="T22" fmla="*/ 1122 w 2240"/>
                <a:gd name="T23" fmla="*/ 2413 h 2700"/>
                <a:gd name="T24" fmla="*/ 1602 w 2240"/>
                <a:gd name="T25" fmla="*/ 1838 h 2700"/>
                <a:gd name="T26" fmla="*/ 1603 w 2240"/>
                <a:gd name="T27" fmla="*/ 237 h 2700"/>
                <a:gd name="T28" fmla="*/ 1427 w 2240"/>
                <a:gd name="T29" fmla="*/ 0 h 27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240" h="2700">
                  <a:moveTo>
                    <a:pt x="1427" y="0"/>
                  </a:moveTo>
                  <a:cubicBezTo>
                    <a:pt x="2240" y="0"/>
                    <a:pt x="2240" y="0"/>
                    <a:pt x="2240" y="0"/>
                  </a:cubicBezTo>
                  <a:cubicBezTo>
                    <a:pt x="2240" y="0"/>
                    <a:pt x="2068" y="95"/>
                    <a:pt x="2068" y="237"/>
                  </a:cubicBezTo>
                  <a:cubicBezTo>
                    <a:pt x="2068" y="238"/>
                    <a:pt x="2067" y="1838"/>
                    <a:pt x="2067" y="1838"/>
                  </a:cubicBezTo>
                  <a:cubicBezTo>
                    <a:pt x="2067" y="2494"/>
                    <a:pt x="1501" y="2700"/>
                    <a:pt x="1122" y="2700"/>
                  </a:cubicBezTo>
                  <a:cubicBezTo>
                    <a:pt x="750" y="2700"/>
                    <a:pt x="166" y="2491"/>
                    <a:pt x="166" y="1838"/>
                  </a:cubicBezTo>
                  <a:cubicBezTo>
                    <a:pt x="166" y="237"/>
                    <a:pt x="166" y="237"/>
                    <a:pt x="166" y="237"/>
                  </a:cubicBezTo>
                  <a:cubicBezTo>
                    <a:pt x="166" y="94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1" y="94"/>
                    <a:pt x="631" y="237"/>
                  </a:cubicBezTo>
                  <a:cubicBezTo>
                    <a:pt x="630" y="1838"/>
                    <a:pt x="630" y="1838"/>
                    <a:pt x="630" y="1838"/>
                  </a:cubicBezTo>
                  <a:cubicBezTo>
                    <a:pt x="630" y="2178"/>
                    <a:pt x="856" y="2412"/>
                    <a:pt x="1122" y="2413"/>
                  </a:cubicBezTo>
                  <a:cubicBezTo>
                    <a:pt x="1388" y="2414"/>
                    <a:pt x="1602" y="2174"/>
                    <a:pt x="1602" y="1838"/>
                  </a:cubicBezTo>
                  <a:cubicBezTo>
                    <a:pt x="1603" y="237"/>
                    <a:pt x="1603" y="237"/>
                    <a:pt x="1603" y="237"/>
                  </a:cubicBezTo>
                  <a:cubicBezTo>
                    <a:pt x="1603" y="94"/>
                    <a:pt x="1427" y="0"/>
                    <a:pt x="1427" y="0"/>
                  </a:cubicBez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 sz="1600"/>
            </a:p>
          </p:txBody>
        </p:sp>
        <p:sp>
          <p:nvSpPr>
            <p:cNvPr id="24" name="Freeform 20"/>
            <p:cNvSpPr>
              <a:spLocks/>
            </p:cNvSpPr>
            <p:nvPr userDrawn="1"/>
          </p:nvSpPr>
          <p:spPr bwMode="gray">
            <a:xfrm>
              <a:off x="8602663" y="396875"/>
              <a:ext cx="130175" cy="211138"/>
            </a:xfrm>
            <a:custGeom>
              <a:avLst/>
              <a:gdLst>
                <a:gd name="T0" fmla="*/ 1467 w 1707"/>
                <a:gd name="T1" fmla="*/ 479 h 2755"/>
                <a:gd name="T2" fmla="*/ 1019 w 1707"/>
                <a:gd name="T3" fmla="*/ 276 h 2755"/>
                <a:gd name="T4" fmla="*/ 504 w 1707"/>
                <a:gd name="T5" fmla="*/ 677 h 2755"/>
                <a:gd name="T6" fmla="*/ 995 w 1707"/>
                <a:gd name="T7" fmla="*/ 1174 h 2755"/>
                <a:gd name="T8" fmla="*/ 1705 w 1707"/>
                <a:gd name="T9" fmla="*/ 1974 h 2755"/>
                <a:gd name="T10" fmla="*/ 651 w 1707"/>
                <a:gd name="T11" fmla="*/ 2755 h 2755"/>
                <a:gd name="T12" fmla="*/ 155 w 1707"/>
                <a:gd name="T13" fmla="*/ 2686 h 2755"/>
                <a:gd name="T14" fmla="*/ 0 w 1707"/>
                <a:gd name="T15" fmla="*/ 2177 h 2755"/>
                <a:gd name="T16" fmla="*/ 658 w 1707"/>
                <a:gd name="T17" fmla="*/ 2466 h 2755"/>
                <a:gd name="T18" fmla="*/ 1252 w 1707"/>
                <a:gd name="T19" fmla="*/ 2030 h 2755"/>
                <a:gd name="T20" fmla="*/ 46 w 1707"/>
                <a:gd name="T21" fmla="*/ 731 h 2755"/>
                <a:gd name="T22" fmla="*/ 973 w 1707"/>
                <a:gd name="T23" fmla="*/ 0 h 2755"/>
                <a:gd name="T24" fmla="*/ 1467 w 1707"/>
                <a:gd name="T25" fmla="*/ 69 h 2755"/>
                <a:gd name="T26" fmla="*/ 1467 w 1707"/>
                <a:gd name="T27" fmla="*/ 479 h 2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07" h="2755">
                  <a:moveTo>
                    <a:pt x="1467" y="479"/>
                  </a:moveTo>
                  <a:cubicBezTo>
                    <a:pt x="1467" y="479"/>
                    <a:pt x="1352" y="277"/>
                    <a:pt x="1019" y="276"/>
                  </a:cubicBezTo>
                  <a:cubicBezTo>
                    <a:pt x="686" y="275"/>
                    <a:pt x="505" y="450"/>
                    <a:pt x="504" y="677"/>
                  </a:cubicBezTo>
                  <a:cubicBezTo>
                    <a:pt x="503" y="934"/>
                    <a:pt x="696" y="1031"/>
                    <a:pt x="995" y="1174"/>
                  </a:cubicBezTo>
                  <a:cubicBezTo>
                    <a:pt x="1279" y="1311"/>
                    <a:pt x="1707" y="1499"/>
                    <a:pt x="1705" y="1974"/>
                  </a:cubicBezTo>
                  <a:cubicBezTo>
                    <a:pt x="1704" y="2399"/>
                    <a:pt x="1327" y="2755"/>
                    <a:pt x="651" y="2755"/>
                  </a:cubicBezTo>
                  <a:cubicBezTo>
                    <a:pt x="442" y="2754"/>
                    <a:pt x="155" y="2686"/>
                    <a:pt x="155" y="2686"/>
                  </a:cubicBezTo>
                  <a:cubicBezTo>
                    <a:pt x="0" y="2177"/>
                    <a:pt x="0" y="2177"/>
                    <a:pt x="0" y="2177"/>
                  </a:cubicBezTo>
                  <a:cubicBezTo>
                    <a:pt x="143" y="2316"/>
                    <a:pt x="397" y="2466"/>
                    <a:pt x="658" y="2466"/>
                  </a:cubicBezTo>
                  <a:cubicBezTo>
                    <a:pt x="929" y="2466"/>
                    <a:pt x="1252" y="2298"/>
                    <a:pt x="1252" y="2030"/>
                  </a:cubicBezTo>
                  <a:cubicBezTo>
                    <a:pt x="1252" y="1512"/>
                    <a:pt x="46" y="1598"/>
                    <a:pt x="46" y="731"/>
                  </a:cubicBezTo>
                  <a:cubicBezTo>
                    <a:pt x="46" y="433"/>
                    <a:pt x="254" y="0"/>
                    <a:pt x="973" y="0"/>
                  </a:cubicBezTo>
                  <a:cubicBezTo>
                    <a:pt x="1207" y="0"/>
                    <a:pt x="1467" y="69"/>
                    <a:pt x="1467" y="69"/>
                  </a:cubicBezTo>
                  <a:lnTo>
                    <a:pt x="1467" y="479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 sz="1600"/>
            </a:p>
          </p:txBody>
        </p:sp>
      </p:grpSp>
    </p:spTree>
    <p:extLst>
      <p:ext uri="{BB962C8B-B14F-4D97-AF65-F5344CB8AC3E}">
        <p14:creationId xmlns:p14="http://schemas.microsoft.com/office/powerpoint/2010/main" val="365461000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コンテンツページ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図 25">
            <a:extLst>
              <a:ext uri="{FF2B5EF4-FFF2-40B4-BE49-F238E27FC236}">
                <a16:creationId xmlns:a16="http://schemas.microsoft.com/office/drawing/2014/main" id="{016C76EE-9E8E-41C3-846C-82BCCC803A8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" y="0"/>
            <a:ext cx="9143999" cy="5143500"/>
          </a:xfrm>
          <a:prstGeom prst="rect">
            <a:avLst/>
          </a:prstGeom>
        </p:spPr>
      </p:pic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257176" y="253923"/>
            <a:ext cx="7564437" cy="599890"/>
          </a:xfrm>
        </p:spPr>
        <p:txBody>
          <a:bodyPr/>
          <a:lstStyle>
            <a:lvl1pPr>
              <a:defRPr sz="2560" b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lang="ja-JP" altLang="en-US"/>
              <a:t>タイトル（</a:t>
            </a:r>
            <a:r>
              <a:rPr lang="en-US" altLang="ja-JP"/>
              <a:t>20</a:t>
            </a:r>
            <a:r>
              <a:rPr lang="ja-JP" altLang="en-US"/>
              <a:t>文字以内）</a:t>
            </a:r>
          </a:p>
        </p:txBody>
      </p:sp>
      <p:sp>
        <p:nvSpPr>
          <p:cNvPr id="13" name="フッター プレースホルダー 3"/>
          <p:cNvSpPr>
            <a:spLocks noGrp="1"/>
          </p:cNvSpPr>
          <p:nvPr>
            <p:ph type="ftr" sz="quarter" idx="10"/>
          </p:nvPr>
        </p:nvSpPr>
        <p:spPr bwMode="gray"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altLang="ja-JP" smtClean="0">
                <a:solidFill>
                  <a:schemeClr val="bg1"/>
                </a:solidFill>
              </a:defRPr>
            </a:lvl1pPr>
          </a:lstStyle>
          <a:p>
            <a:r>
              <a:rPr lang="en-US"/>
              <a:t>Copyright 2021 FUJITSU LIMITED</a:t>
            </a:r>
          </a:p>
        </p:txBody>
      </p:sp>
      <p:sp>
        <p:nvSpPr>
          <p:cNvPr id="14" name="スライド番号プレースホルダー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0B5B02AC-72C7-48A8-B1FA-68CE81373FC9}" type="slidenum">
              <a:rPr lang="en-US" smtClean="0"/>
              <a:pPr>
                <a:defRPr/>
              </a:pPr>
              <a:t>‹#›</a:t>
            </a:fld>
            <a:endParaRPr lang="ja-JP" altLang="en-US"/>
          </a:p>
        </p:txBody>
      </p:sp>
      <p:sp>
        <p:nvSpPr>
          <p:cNvPr id="16" name="AutoShape 11"/>
          <p:cNvSpPr>
            <a:spLocks noChangeAspect="1" noChangeArrowheads="1" noTextEdit="1"/>
          </p:cNvSpPr>
          <p:nvPr userDrawn="1"/>
        </p:nvSpPr>
        <p:spPr bwMode="gray">
          <a:xfrm>
            <a:off x="7607300" y="114266"/>
            <a:ext cx="1417638" cy="7919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ja-JP" altLang="en-US" sz="1600"/>
          </a:p>
        </p:txBody>
      </p:sp>
      <p:grpSp>
        <p:nvGrpSpPr>
          <p:cNvPr id="25" name="グループ化 24"/>
          <p:cNvGrpSpPr/>
          <p:nvPr userDrawn="1"/>
        </p:nvGrpSpPr>
        <p:grpSpPr bwMode="gray">
          <a:xfrm>
            <a:off x="8010525" y="249163"/>
            <a:ext cx="892176" cy="434841"/>
            <a:chOff x="8010525" y="249238"/>
            <a:chExt cx="892176" cy="434975"/>
          </a:xfrm>
        </p:grpSpPr>
        <p:sp>
          <p:nvSpPr>
            <p:cNvPr id="17" name="Freeform 13"/>
            <p:cNvSpPr>
              <a:spLocks/>
            </p:cNvSpPr>
            <p:nvPr userDrawn="1"/>
          </p:nvSpPr>
          <p:spPr bwMode="gray">
            <a:xfrm>
              <a:off x="8305800" y="249238"/>
              <a:ext cx="179388" cy="139700"/>
            </a:xfrm>
            <a:custGeom>
              <a:avLst/>
              <a:gdLst>
                <a:gd name="T0" fmla="*/ 961 w 2365"/>
                <a:gd name="T1" fmla="*/ 764 h 1825"/>
                <a:gd name="T2" fmla="*/ 599 w 2365"/>
                <a:gd name="T3" fmla="*/ 642 h 1825"/>
                <a:gd name="T4" fmla="*/ 1 w 2365"/>
                <a:gd name="T5" fmla="*/ 1235 h 1825"/>
                <a:gd name="T6" fmla="*/ 599 w 2365"/>
                <a:gd name="T7" fmla="*/ 1825 h 1825"/>
                <a:gd name="T8" fmla="*/ 1053 w 2365"/>
                <a:gd name="T9" fmla="*/ 1619 h 1825"/>
                <a:gd name="T10" fmla="*/ 1053 w 2365"/>
                <a:gd name="T11" fmla="*/ 1293 h 1825"/>
                <a:gd name="T12" fmla="*/ 771 w 2365"/>
                <a:gd name="T13" fmla="*/ 1568 h 1825"/>
                <a:gd name="T14" fmla="*/ 599 w 2365"/>
                <a:gd name="T15" fmla="*/ 1604 h 1825"/>
                <a:gd name="T16" fmla="*/ 225 w 2365"/>
                <a:gd name="T17" fmla="*/ 1235 h 1825"/>
                <a:gd name="T18" fmla="*/ 599 w 2365"/>
                <a:gd name="T19" fmla="*/ 863 h 1825"/>
                <a:gd name="T20" fmla="*/ 861 w 2365"/>
                <a:gd name="T21" fmla="*/ 972 h 1825"/>
                <a:gd name="T22" fmla="*/ 1093 w 2365"/>
                <a:gd name="T23" fmla="*/ 1239 h 1825"/>
                <a:gd name="T24" fmla="*/ 1630 w 2365"/>
                <a:gd name="T25" fmla="*/ 1473 h 1825"/>
                <a:gd name="T26" fmla="*/ 2365 w 2365"/>
                <a:gd name="T27" fmla="*/ 741 h 1825"/>
                <a:gd name="T28" fmla="*/ 1630 w 2365"/>
                <a:gd name="T29" fmla="*/ 0 h 1825"/>
                <a:gd name="T30" fmla="*/ 1053 w 2365"/>
                <a:gd name="T31" fmla="*/ 295 h 1825"/>
                <a:gd name="T32" fmla="*/ 1053 w 2365"/>
                <a:gd name="T33" fmla="*/ 735 h 1825"/>
                <a:gd name="T34" fmla="*/ 1630 w 2365"/>
                <a:gd name="T35" fmla="*/ 232 h 1825"/>
                <a:gd name="T36" fmla="*/ 2134 w 2365"/>
                <a:gd name="T37" fmla="*/ 741 h 1825"/>
                <a:gd name="T38" fmla="*/ 1630 w 2365"/>
                <a:gd name="T39" fmla="*/ 1245 h 1825"/>
                <a:gd name="T40" fmla="*/ 1303 w 2365"/>
                <a:gd name="T41" fmla="*/ 1125 h 1825"/>
                <a:gd name="T42" fmla="*/ 961 w 2365"/>
                <a:gd name="T43" fmla="*/ 764 h 18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65" h="1825">
                  <a:moveTo>
                    <a:pt x="961" y="764"/>
                  </a:moveTo>
                  <a:cubicBezTo>
                    <a:pt x="875" y="688"/>
                    <a:pt x="736" y="643"/>
                    <a:pt x="599" y="642"/>
                  </a:cubicBezTo>
                  <a:cubicBezTo>
                    <a:pt x="270" y="641"/>
                    <a:pt x="2" y="900"/>
                    <a:pt x="1" y="1235"/>
                  </a:cubicBezTo>
                  <a:cubicBezTo>
                    <a:pt x="0" y="1563"/>
                    <a:pt x="270" y="1824"/>
                    <a:pt x="599" y="1825"/>
                  </a:cubicBezTo>
                  <a:cubicBezTo>
                    <a:pt x="783" y="1825"/>
                    <a:pt x="943" y="1751"/>
                    <a:pt x="1053" y="1619"/>
                  </a:cubicBezTo>
                  <a:cubicBezTo>
                    <a:pt x="1053" y="1293"/>
                    <a:pt x="1053" y="1293"/>
                    <a:pt x="1053" y="1293"/>
                  </a:cubicBezTo>
                  <a:cubicBezTo>
                    <a:pt x="994" y="1394"/>
                    <a:pt x="877" y="1524"/>
                    <a:pt x="771" y="1568"/>
                  </a:cubicBezTo>
                  <a:cubicBezTo>
                    <a:pt x="717" y="1590"/>
                    <a:pt x="662" y="1604"/>
                    <a:pt x="599" y="1604"/>
                  </a:cubicBezTo>
                  <a:cubicBezTo>
                    <a:pt x="394" y="1604"/>
                    <a:pt x="225" y="1445"/>
                    <a:pt x="225" y="1235"/>
                  </a:cubicBezTo>
                  <a:cubicBezTo>
                    <a:pt x="225" y="1041"/>
                    <a:pt x="380" y="862"/>
                    <a:pt x="599" y="863"/>
                  </a:cubicBezTo>
                  <a:cubicBezTo>
                    <a:pt x="701" y="863"/>
                    <a:pt x="793" y="905"/>
                    <a:pt x="861" y="972"/>
                  </a:cubicBezTo>
                  <a:cubicBezTo>
                    <a:pt x="931" y="1040"/>
                    <a:pt x="1041" y="1183"/>
                    <a:pt x="1093" y="1239"/>
                  </a:cubicBezTo>
                  <a:cubicBezTo>
                    <a:pt x="1227" y="1383"/>
                    <a:pt x="1419" y="1473"/>
                    <a:pt x="1630" y="1473"/>
                  </a:cubicBezTo>
                  <a:cubicBezTo>
                    <a:pt x="2036" y="1474"/>
                    <a:pt x="2365" y="1146"/>
                    <a:pt x="2365" y="741"/>
                  </a:cubicBezTo>
                  <a:cubicBezTo>
                    <a:pt x="2365" y="336"/>
                    <a:pt x="2035" y="0"/>
                    <a:pt x="1630" y="0"/>
                  </a:cubicBezTo>
                  <a:cubicBezTo>
                    <a:pt x="1395" y="0"/>
                    <a:pt x="1187" y="122"/>
                    <a:pt x="1053" y="295"/>
                  </a:cubicBezTo>
                  <a:cubicBezTo>
                    <a:pt x="1053" y="735"/>
                    <a:pt x="1053" y="735"/>
                    <a:pt x="1053" y="735"/>
                  </a:cubicBezTo>
                  <a:cubicBezTo>
                    <a:pt x="1155" y="455"/>
                    <a:pt x="1340" y="232"/>
                    <a:pt x="1630" y="232"/>
                  </a:cubicBezTo>
                  <a:cubicBezTo>
                    <a:pt x="1909" y="232"/>
                    <a:pt x="2135" y="463"/>
                    <a:pt x="2134" y="741"/>
                  </a:cubicBezTo>
                  <a:cubicBezTo>
                    <a:pt x="2134" y="1020"/>
                    <a:pt x="1909" y="1246"/>
                    <a:pt x="1630" y="1245"/>
                  </a:cubicBezTo>
                  <a:cubicBezTo>
                    <a:pt x="1506" y="1244"/>
                    <a:pt x="1391" y="1199"/>
                    <a:pt x="1303" y="1125"/>
                  </a:cubicBezTo>
                  <a:cubicBezTo>
                    <a:pt x="1194" y="1040"/>
                    <a:pt x="1074" y="860"/>
                    <a:pt x="961" y="764"/>
                  </a:cubicBezTo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 sz="1600"/>
            </a:p>
          </p:txBody>
        </p:sp>
        <p:sp>
          <p:nvSpPr>
            <p:cNvPr id="18" name="Freeform 14"/>
            <p:cNvSpPr>
              <a:spLocks/>
            </p:cNvSpPr>
            <p:nvPr userDrawn="1"/>
          </p:nvSpPr>
          <p:spPr bwMode="gray">
            <a:xfrm>
              <a:off x="8010525" y="401638"/>
              <a:ext cx="123825" cy="201613"/>
            </a:xfrm>
            <a:custGeom>
              <a:avLst/>
              <a:gdLst>
                <a:gd name="T0" fmla="*/ 0 w 1624"/>
                <a:gd name="T1" fmla="*/ 0 h 2651"/>
                <a:gd name="T2" fmla="*/ 1624 w 1624"/>
                <a:gd name="T3" fmla="*/ 0 h 2651"/>
                <a:gd name="T4" fmla="*/ 1624 w 1624"/>
                <a:gd name="T5" fmla="*/ 452 h 2651"/>
                <a:gd name="T6" fmla="*/ 1365 w 1624"/>
                <a:gd name="T7" fmla="*/ 273 h 2651"/>
                <a:gd name="T8" fmla="*/ 613 w 1624"/>
                <a:gd name="T9" fmla="*/ 273 h 2651"/>
                <a:gd name="T10" fmla="*/ 613 w 1624"/>
                <a:gd name="T11" fmla="*/ 1053 h 2651"/>
                <a:gd name="T12" fmla="*/ 1428 w 1624"/>
                <a:gd name="T13" fmla="*/ 1053 h 2651"/>
                <a:gd name="T14" fmla="*/ 1428 w 1624"/>
                <a:gd name="T15" fmla="*/ 1467 h 2651"/>
                <a:gd name="T16" fmla="*/ 1205 w 1624"/>
                <a:gd name="T17" fmla="*/ 1335 h 2651"/>
                <a:gd name="T18" fmla="*/ 613 w 1624"/>
                <a:gd name="T19" fmla="*/ 1335 h 2651"/>
                <a:gd name="T20" fmla="*/ 613 w 1624"/>
                <a:gd name="T21" fmla="*/ 2401 h 2651"/>
                <a:gd name="T22" fmla="*/ 784 w 1624"/>
                <a:gd name="T23" fmla="*/ 2651 h 2651"/>
                <a:gd name="T24" fmla="*/ 11 w 1624"/>
                <a:gd name="T25" fmla="*/ 2651 h 2651"/>
                <a:gd name="T26" fmla="*/ 173 w 1624"/>
                <a:gd name="T27" fmla="*/ 2401 h 2651"/>
                <a:gd name="T28" fmla="*/ 173 w 1624"/>
                <a:gd name="T29" fmla="*/ 278 h 2651"/>
                <a:gd name="T30" fmla="*/ 0 w 1624"/>
                <a:gd name="T31" fmla="*/ 0 h 2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624" h="2651">
                  <a:moveTo>
                    <a:pt x="0" y="0"/>
                  </a:moveTo>
                  <a:cubicBezTo>
                    <a:pt x="1624" y="0"/>
                    <a:pt x="1624" y="0"/>
                    <a:pt x="1624" y="0"/>
                  </a:cubicBezTo>
                  <a:cubicBezTo>
                    <a:pt x="1624" y="452"/>
                    <a:pt x="1624" y="452"/>
                    <a:pt x="1624" y="452"/>
                  </a:cubicBezTo>
                  <a:cubicBezTo>
                    <a:pt x="1624" y="452"/>
                    <a:pt x="1540" y="274"/>
                    <a:pt x="1365" y="273"/>
                  </a:cubicBezTo>
                  <a:cubicBezTo>
                    <a:pt x="613" y="273"/>
                    <a:pt x="613" y="273"/>
                    <a:pt x="613" y="273"/>
                  </a:cubicBezTo>
                  <a:cubicBezTo>
                    <a:pt x="613" y="1053"/>
                    <a:pt x="613" y="1053"/>
                    <a:pt x="613" y="1053"/>
                  </a:cubicBezTo>
                  <a:cubicBezTo>
                    <a:pt x="1428" y="1053"/>
                    <a:pt x="1428" y="1053"/>
                    <a:pt x="1428" y="1053"/>
                  </a:cubicBezTo>
                  <a:cubicBezTo>
                    <a:pt x="1428" y="1467"/>
                    <a:pt x="1428" y="1467"/>
                    <a:pt x="1428" y="1467"/>
                  </a:cubicBezTo>
                  <a:cubicBezTo>
                    <a:pt x="1428" y="1467"/>
                    <a:pt x="1402" y="1335"/>
                    <a:pt x="1205" y="1335"/>
                  </a:cubicBezTo>
                  <a:cubicBezTo>
                    <a:pt x="613" y="1335"/>
                    <a:pt x="613" y="1335"/>
                    <a:pt x="613" y="1335"/>
                  </a:cubicBezTo>
                  <a:cubicBezTo>
                    <a:pt x="613" y="2401"/>
                    <a:pt x="613" y="2401"/>
                    <a:pt x="613" y="2401"/>
                  </a:cubicBezTo>
                  <a:cubicBezTo>
                    <a:pt x="613" y="2558"/>
                    <a:pt x="784" y="2651"/>
                    <a:pt x="784" y="2651"/>
                  </a:cubicBezTo>
                  <a:cubicBezTo>
                    <a:pt x="11" y="2651"/>
                    <a:pt x="11" y="2651"/>
                    <a:pt x="11" y="2651"/>
                  </a:cubicBezTo>
                  <a:cubicBezTo>
                    <a:pt x="11" y="2651"/>
                    <a:pt x="173" y="2569"/>
                    <a:pt x="173" y="2401"/>
                  </a:cubicBezTo>
                  <a:cubicBezTo>
                    <a:pt x="173" y="278"/>
                    <a:pt x="173" y="278"/>
                    <a:pt x="173" y="278"/>
                  </a:cubicBezTo>
                  <a:cubicBezTo>
                    <a:pt x="173" y="9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 sz="1600"/>
            </a:p>
          </p:txBody>
        </p:sp>
        <p:sp>
          <p:nvSpPr>
            <p:cNvPr id="19" name="Freeform 15"/>
            <p:cNvSpPr>
              <a:spLocks/>
            </p:cNvSpPr>
            <p:nvPr userDrawn="1"/>
          </p:nvSpPr>
          <p:spPr bwMode="gray">
            <a:xfrm>
              <a:off x="8304213" y="401638"/>
              <a:ext cx="80963" cy="282575"/>
            </a:xfrm>
            <a:custGeom>
              <a:avLst/>
              <a:gdLst>
                <a:gd name="T0" fmla="*/ 246 w 1072"/>
                <a:gd name="T1" fmla="*/ 0 h 3696"/>
                <a:gd name="T2" fmla="*/ 1072 w 1072"/>
                <a:gd name="T3" fmla="*/ 0 h 3696"/>
                <a:gd name="T4" fmla="*/ 887 w 1072"/>
                <a:gd name="T5" fmla="*/ 230 h 3696"/>
                <a:gd name="T6" fmla="*/ 887 w 1072"/>
                <a:gd name="T7" fmla="*/ 2717 h 3696"/>
                <a:gd name="T8" fmla="*/ 0 w 1072"/>
                <a:gd name="T9" fmla="*/ 3693 h 3696"/>
                <a:gd name="T10" fmla="*/ 423 w 1072"/>
                <a:gd name="T11" fmla="*/ 2717 h 3696"/>
                <a:gd name="T12" fmla="*/ 423 w 1072"/>
                <a:gd name="T13" fmla="*/ 230 h 3696"/>
                <a:gd name="T14" fmla="*/ 246 w 1072"/>
                <a:gd name="T15" fmla="*/ 0 h 36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72" h="3696">
                  <a:moveTo>
                    <a:pt x="246" y="0"/>
                  </a:moveTo>
                  <a:cubicBezTo>
                    <a:pt x="1072" y="0"/>
                    <a:pt x="1072" y="0"/>
                    <a:pt x="1072" y="0"/>
                  </a:cubicBezTo>
                  <a:cubicBezTo>
                    <a:pt x="1072" y="0"/>
                    <a:pt x="887" y="87"/>
                    <a:pt x="887" y="230"/>
                  </a:cubicBezTo>
                  <a:cubicBezTo>
                    <a:pt x="887" y="2717"/>
                    <a:pt x="887" y="2717"/>
                    <a:pt x="887" y="2717"/>
                  </a:cubicBezTo>
                  <a:cubicBezTo>
                    <a:pt x="887" y="3558"/>
                    <a:pt x="44" y="3696"/>
                    <a:pt x="0" y="3693"/>
                  </a:cubicBezTo>
                  <a:cubicBezTo>
                    <a:pt x="72" y="3647"/>
                    <a:pt x="422" y="3349"/>
                    <a:pt x="423" y="2717"/>
                  </a:cubicBezTo>
                  <a:cubicBezTo>
                    <a:pt x="423" y="230"/>
                    <a:pt x="423" y="230"/>
                    <a:pt x="423" y="230"/>
                  </a:cubicBezTo>
                  <a:cubicBezTo>
                    <a:pt x="424" y="96"/>
                    <a:pt x="246" y="0"/>
                    <a:pt x="246" y="0"/>
                  </a:cubicBez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 sz="1600"/>
            </a:p>
          </p:txBody>
        </p:sp>
        <p:sp>
          <p:nvSpPr>
            <p:cNvPr id="20" name="Freeform 16"/>
            <p:cNvSpPr>
              <a:spLocks/>
            </p:cNvSpPr>
            <p:nvPr userDrawn="1"/>
          </p:nvSpPr>
          <p:spPr bwMode="gray">
            <a:xfrm>
              <a:off x="8394700" y="401638"/>
              <a:ext cx="63500" cy="201613"/>
            </a:xfrm>
            <a:custGeom>
              <a:avLst/>
              <a:gdLst>
                <a:gd name="T0" fmla="*/ 0 w 828"/>
                <a:gd name="T1" fmla="*/ 0 h 2653"/>
                <a:gd name="T2" fmla="*/ 828 w 828"/>
                <a:gd name="T3" fmla="*/ 0 h 2653"/>
                <a:gd name="T4" fmla="*/ 645 w 828"/>
                <a:gd name="T5" fmla="*/ 235 h 2653"/>
                <a:gd name="T6" fmla="*/ 645 w 828"/>
                <a:gd name="T7" fmla="*/ 2401 h 2653"/>
                <a:gd name="T8" fmla="*/ 828 w 828"/>
                <a:gd name="T9" fmla="*/ 2653 h 2653"/>
                <a:gd name="T10" fmla="*/ 0 w 828"/>
                <a:gd name="T11" fmla="*/ 2653 h 2653"/>
                <a:gd name="T12" fmla="*/ 184 w 828"/>
                <a:gd name="T13" fmla="*/ 2401 h 2653"/>
                <a:gd name="T14" fmla="*/ 184 w 828"/>
                <a:gd name="T15" fmla="*/ 235 h 2653"/>
                <a:gd name="T16" fmla="*/ 0 w 828"/>
                <a:gd name="T17" fmla="*/ 0 h 26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28" h="2653">
                  <a:moveTo>
                    <a:pt x="0" y="0"/>
                  </a:moveTo>
                  <a:cubicBezTo>
                    <a:pt x="828" y="0"/>
                    <a:pt x="828" y="0"/>
                    <a:pt x="828" y="0"/>
                  </a:cubicBezTo>
                  <a:cubicBezTo>
                    <a:pt x="828" y="0"/>
                    <a:pt x="645" y="89"/>
                    <a:pt x="645" y="235"/>
                  </a:cubicBezTo>
                  <a:cubicBezTo>
                    <a:pt x="645" y="2401"/>
                    <a:pt x="645" y="2401"/>
                    <a:pt x="645" y="2401"/>
                  </a:cubicBezTo>
                  <a:cubicBezTo>
                    <a:pt x="645" y="2556"/>
                    <a:pt x="828" y="2653"/>
                    <a:pt x="828" y="2653"/>
                  </a:cubicBezTo>
                  <a:cubicBezTo>
                    <a:pt x="0" y="2653"/>
                    <a:pt x="0" y="2653"/>
                    <a:pt x="0" y="2653"/>
                  </a:cubicBezTo>
                  <a:cubicBezTo>
                    <a:pt x="0" y="2653"/>
                    <a:pt x="184" y="2557"/>
                    <a:pt x="184" y="2401"/>
                  </a:cubicBezTo>
                  <a:cubicBezTo>
                    <a:pt x="184" y="235"/>
                    <a:pt x="184" y="235"/>
                    <a:pt x="184" y="235"/>
                  </a:cubicBezTo>
                  <a:cubicBezTo>
                    <a:pt x="184" y="8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 sz="1600"/>
            </a:p>
          </p:txBody>
        </p:sp>
        <p:sp>
          <p:nvSpPr>
            <p:cNvPr id="21" name="Freeform 17"/>
            <p:cNvSpPr>
              <a:spLocks/>
            </p:cNvSpPr>
            <p:nvPr userDrawn="1"/>
          </p:nvSpPr>
          <p:spPr bwMode="gray">
            <a:xfrm>
              <a:off x="8458200" y="401638"/>
              <a:ext cx="150813" cy="201613"/>
            </a:xfrm>
            <a:custGeom>
              <a:avLst/>
              <a:gdLst>
                <a:gd name="T0" fmla="*/ 161 w 1984"/>
                <a:gd name="T1" fmla="*/ 0 h 2651"/>
                <a:gd name="T2" fmla="*/ 1984 w 1984"/>
                <a:gd name="T3" fmla="*/ 0 h 2651"/>
                <a:gd name="T4" fmla="*/ 1829 w 1984"/>
                <a:gd name="T5" fmla="*/ 482 h 2651"/>
                <a:gd name="T6" fmla="*/ 1607 w 1984"/>
                <a:gd name="T7" fmla="*/ 279 h 2651"/>
                <a:gd name="T8" fmla="*/ 1229 w 1984"/>
                <a:gd name="T9" fmla="*/ 279 h 2651"/>
                <a:gd name="T10" fmla="*/ 1229 w 1984"/>
                <a:gd name="T11" fmla="*/ 2401 h 2651"/>
                <a:gd name="T12" fmla="*/ 1407 w 1984"/>
                <a:gd name="T13" fmla="*/ 2651 h 2651"/>
                <a:gd name="T14" fmla="*/ 595 w 1984"/>
                <a:gd name="T15" fmla="*/ 2651 h 2651"/>
                <a:gd name="T16" fmla="*/ 771 w 1984"/>
                <a:gd name="T17" fmla="*/ 2401 h 2651"/>
                <a:gd name="T18" fmla="*/ 771 w 1984"/>
                <a:gd name="T19" fmla="*/ 279 h 2651"/>
                <a:gd name="T20" fmla="*/ 315 w 1984"/>
                <a:gd name="T21" fmla="*/ 279 h 2651"/>
                <a:gd name="T22" fmla="*/ 0 w 1984"/>
                <a:gd name="T23" fmla="*/ 522 h 2651"/>
                <a:gd name="T24" fmla="*/ 161 w 1984"/>
                <a:gd name="T25" fmla="*/ 0 h 2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84" h="2651">
                  <a:moveTo>
                    <a:pt x="161" y="0"/>
                  </a:moveTo>
                  <a:cubicBezTo>
                    <a:pt x="1984" y="0"/>
                    <a:pt x="1984" y="0"/>
                    <a:pt x="1984" y="0"/>
                  </a:cubicBezTo>
                  <a:cubicBezTo>
                    <a:pt x="1829" y="482"/>
                    <a:pt x="1829" y="482"/>
                    <a:pt x="1829" y="482"/>
                  </a:cubicBezTo>
                  <a:cubicBezTo>
                    <a:pt x="1829" y="482"/>
                    <a:pt x="1783" y="279"/>
                    <a:pt x="1607" y="279"/>
                  </a:cubicBezTo>
                  <a:cubicBezTo>
                    <a:pt x="1229" y="279"/>
                    <a:pt x="1229" y="279"/>
                    <a:pt x="1229" y="279"/>
                  </a:cubicBezTo>
                  <a:cubicBezTo>
                    <a:pt x="1229" y="2401"/>
                    <a:pt x="1229" y="2401"/>
                    <a:pt x="1229" y="2401"/>
                  </a:cubicBezTo>
                  <a:cubicBezTo>
                    <a:pt x="1229" y="2535"/>
                    <a:pt x="1407" y="2651"/>
                    <a:pt x="1407" y="2651"/>
                  </a:cubicBezTo>
                  <a:cubicBezTo>
                    <a:pt x="595" y="2651"/>
                    <a:pt x="595" y="2651"/>
                    <a:pt x="595" y="2651"/>
                  </a:cubicBezTo>
                  <a:cubicBezTo>
                    <a:pt x="595" y="2651"/>
                    <a:pt x="771" y="2547"/>
                    <a:pt x="771" y="2401"/>
                  </a:cubicBezTo>
                  <a:cubicBezTo>
                    <a:pt x="771" y="279"/>
                    <a:pt x="771" y="279"/>
                    <a:pt x="771" y="279"/>
                  </a:cubicBezTo>
                  <a:cubicBezTo>
                    <a:pt x="315" y="279"/>
                    <a:pt x="315" y="279"/>
                    <a:pt x="315" y="279"/>
                  </a:cubicBezTo>
                  <a:cubicBezTo>
                    <a:pt x="185" y="280"/>
                    <a:pt x="0" y="522"/>
                    <a:pt x="0" y="522"/>
                  </a:cubicBezTo>
                  <a:lnTo>
                    <a:pt x="161" y="0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 sz="1600"/>
            </a:p>
          </p:txBody>
        </p:sp>
        <p:sp>
          <p:nvSpPr>
            <p:cNvPr id="22" name="Freeform 18"/>
            <p:cNvSpPr>
              <a:spLocks/>
            </p:cNvSpPr>
            <p:nvPr userDrawn="1"/>
          </p:nvSpPr>
          <p:spPr bwMode="gray">
            <a:xfrm>
              <a:off x="8732838" y="401638"/>
              <a:ext cx="169863" cy="204788"/>
            </a:xfrm>
            <a:custGeom>
              <a:avLst/>
              <a:gdLst>
                <a:gd name="T0" fmla="*/ 1420 w 2219"/>
                <a:gd name="T1" fmla="*/ 0 h 2693"/>
                <a:gd name="T2" fmla="*/ 2219 w 2219"/>
                <a:gd name="T3" fmla="*/ 0 h 2693"/>
                <a:gd name="T4" fmla="*/ 2048 w 2219"/>
                <a:gd name="T5" fmla="*/ 234 h 2693"/>
                <a:gd name="T6" fmla="*/ 2048 w 2219"/>
                <a:gd name="T7" fmla="*/ 1840 h 2693"/>
                <a:gd name="T8" fmla="*/ 1131 w 2219"/>
                <a:gd name="T9" fmla="*/ 2693 h 2693"/>
                <a:gd name="T10" fmla="*/ 176 w 2219"/>
                <a:gd name="T11" fmla="*/ 1840 h 2693"/>
                <a:gd name="T12" fmla="*/ 176 w 2219"/>
                <a:gd name="T13" fmla="*/ 234 h 2693"/>
                <a:gd name="T14" fmla="*/ 0 w 2219"/>
                <a:gd name="T15" fmla="*/ 0 h 2693"/>
                <a:gd name="T16" fmla="*/ 821 w 2219"/>
                <a:gd name="T17" fmla="*/ 0 h 2693"/>
                <a:gd name="T18" fmla="*/ 638 w 2219"/>
                <a:gd name="T19" fmla="*/ 234 h 2693"/>
                <a:gd name="T20" fmla="*/ 638 w 2219"/>
                <a:gd name="T21" fmla="*/ 1840 h 2693"/>
                <a:gd name="T22" fmla="*/ 1131 w 2219"/>
                <a:gd name="T23" fmla="*/ 2406 h 2693"/>
                <a:gd name="T24" fmla="*/ 1601 w 2219"/>
                <a:gd name="T25" fmla="*/ 1840 h 2693"/>
                <a:gd name="T26" fmla="*/ 1601 w 2219"/>
                <a:gd name="T27" fmla="*/ 234 h 2693"/>
                <a:gd name="T28" fmla="*/ 1420 w 2219"/>
                <a:gd name="T29" fmla="*/ 0 h 26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219" h="2693">
                  <a:moveTo>
                    <a:pt x="1420" y="0"/>
                  </a:moveTo>
                  <a:cubicBezTo>
                    <a:pt x="2219" y="0"/>
                    <a:pt x="2219" y="0"/>
                    <a:pt x="2219" y="0"/>
                  </a:cubicBezTo>
                  <a:cubicBezTo>
                    <a:pt x="2219" y="0"/>
                    <a:pt x="2048" y="91"/>
                    <a:pt x="2048" y="234"/>
                  </a:cubicBezTo>
                  <a:cubicBezTo>
                    <a:pt x="2048" y="1840"/>
                    <a:pt x="2048" y="1840"/>
                    <a:pt x="2048" y="1840"/>
                  </a:cubicBezTo>
                  <a:cubicBezTo>
                    <a:pt x="2047" y="2492"/>
                    <a:pt x="1506" y="2693"/>
                    <a:pt x="1131" y="2693"/>
                  </a:cubicBezTo>
                  <a:cubicBezTo>
                    <a:pt x="759" y="2693"/>
                    <a:pt x="175" y="2490"/>
                    <a:pt x="176" y="1840"/>
                  </a:cubicBezTo>
                  <a:cubicBezTo>
                    <a:pt x="176" y="234"/>
                    <a:pt x="176" y="234"/>
                    <a:pt x="176" y="234"/>
                  </a:cubicBezTo>
                  <a:cubicBezTo>
                    <a:pt x="176" y="91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8" y="88"/>
                    <a:pt x="638" y="234"/>
                  </a:cubicBezTo>
                  <a:cubicBezTo>
                    <a:pt x="638" y="1840"/>
                    <a:pt x="638" y="1840"/>
                    <a:pt x="638" y="1840"/>
                  </a:cubicBezTo>
                  <a:cubicBezTo>
                    <a:pt x="638" y="2182"/>
                    <a:pt x="865" y="2406"/>
                    <a:pt x="1131" y="2406"/>
                  </a:cubicBezTo>
                  <a:cubicBezTo>
                    <a:pt x="1397" y="2406"/>
                    <a:pt x="1600" y="2173"/>
                    <a:pt x="1601" y="1840"/>
                  </a:cubicBezTo>
                  <a:cubicBezTo>
                    <a:pt x="1601" y="234"/>
                    <a:pt x="1601" y="234"/>
                    <a:pt x="1601" y="234"/>
                  </a:cubicBezTo>
                  <a:cubicBezTo>
                    <a:pt x="1601" y="91"/>
                    <a:pt x="1420" y="0"/>
                    <a:pt x="1420" y="0"/>
                  </a:cubicBez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 sz="1600"/>
            </a:p>
          </p:txBody>
        </p:sp>
        <p:sp>
          <p:nvSpPr>
            <p:cNvPr id="23" name="Freeform 19"/>
            <p:cNvSpPr>
              <a:spLocks/>
            </p:cNvSpPr>
            <p:nvPr userDrawn="1"/>
          </p:nvSpPr>
          <p:spPr bwMode="gray">
            <a:xfrm>
              <a:off x="8140700" y="401638"/>
              <a:ext cx="169863" cy="206375"/>
            </a:xfrm>
            <a:custGeom>
              <a:avLst/>
              <a:gdLst>
                <a:gd name="T0" fmla="*/ 1427 w 2240"/>
                <a:gd name="T1" fmla="*/ 0 h 2700"/>
                <a:gd name="T2" fmla="*/ 2240 w 2240"/>
                <a:gd name="T3" fmla="*/ 0 h 2700"/>
                <a:gd name="T4" fmla="*/ 2068 w 2240"/>
                <a:gd name="T5" fmla="*/ 237 h 2700"/>
                <a:gd name="T6" fmla="*/ 2067 w 2240"/>
                <a:gd name="T7" fmla="*/ 1838 h 2700"/>
                <a:gd name="T8" fmla="*/ 1122 w 2240"/>
                <a:gd name="T9" fmla="*/ 2700 h 2700"/>
                <a:gd name="T10" fmla="*/ 166 w 2240"/>
                <a:gd name="T11" fmla="*/ 1838 h 2700"/>
                <a:gd name="T12" fmla="*/ 166 w 2240"/>
                <a:gd name="T13" fmla="*/ 237 h 2700"/>
                <a:gd name="T14" fmla="*/ 0 w 2240"/>
                <a:gd name="T15" fmla="*/ 0 h 2700"/>
                <a:gd name="T16" fmla="*/ 821 w 2240"/>
                <a:gd name="T17" fmla="*/ 0 h 2700"/>
                <a:gd name="T18" fmla="*/ 631 w 2240"/>
                <a:gd name="T19" fmla="*/ 237 h 2700"/>
                <a:gd name="T20" fmla="*/ 630 w 2240"/>
                <a:gd name="T21" fmla="*/ 1838 h 2700"/>
                <a:gd name="T22" fmla="*/ 1122 w 2240"/>
                <a:gd name="T23" fmla="*/ 2413 h 2700"/>
                <a:gd name="T24" fmla="*/ 1602 w 2240"/>
                <a:gd name="T25" fmla="*/ 1838 h 2700"/>
                <a:gd name="T26" fmla="*/ 1603 w 2240"/>
                <a:gd name="T27" fmla="*/ 237 h 2700"/>
                <a:gd name="T28" fmla="*/ 1427 w 2240"/>
                <a:gd name="T29" fmla="*/ 0 h 27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240" h="2700">
                  <a:moveTo>
                    <a:pt x="1427" y="0"/>
                  </a:moveTo>
                  <a:cubicBezTo>
                    <a:pt x="2240" y="0"/>
                    <a:pt x="2240" y="0"/>
                    <a:pt x="2240" y="0"/>
                  </a:cubicBezTo>
                  <a:cubicBezTo>
                    <a:pt x="2240" y="0"/>
                    <a:pt x="2068" y="95"/>
                    <a:pt x="2068" y="237"/>
                  </a:cubicBezTo>
                  <a:cubicBezTo>
                    <a:pt x="2068" y="238"/>
                    <a:pt x="2067" y="1838"/>
                    <a:pt x="2067" y="1838"/>
                  </a:cubicBezTo>
                  <a:cubicBezTo>
                    <a:pt x="2067" y="2494"/>
                    <a:pt x="1501" y="2700"/>
                    <a:pt x="1122" y="2700"/>
                  </a:cubicBezTo>
                  <a:cubicBezTo>
                    <a:pt x="750" y="2700"/>
                    <a:pt x="166" y="2491"/>
                    <a:pt x="166" y="1838"/>
                  </a:cubicBezTo>
                  <a:cubicBezTo>
                    <a:pt x="166" y="237"/>
                    <a:pt x="166" y="237"/>
                    <a:pt x="166" y="237"/>
                  </a:cubicBezTo>
                  <a:cubicBezTo>
                    <a:pt x="166" y="94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1" y="94"/>
                    <a:pt x="631" y="237"/>
                  </a:cubicBezTo>
                  <a:cubicBezTo>
                    <a:pt x="630" y="1838"/>
                    <a:pt x="630" y="1838"/>
                    <a:pt x="630" y="1838"/>
                  </a:cubicBezTo>
                  <a:cubicBezTo>
                    <a:pt x="630" y="2178"/>
                    <a:pt x="856" y="2412"/>
                    <a:pt x="1122" y="2413"/>
                  </a:cubicBezTo>
                  <a:cubicBezTo>
                    <a:pt x="1388" y="2414"/>
                    <a:pt x="1602" y="2174"/>
                    <a:pt x="1602" y="1838"/>
                  </a:cubicBezTo>
                  <a:cubicBezTo>
                    <a:pt x="1603" y="237"/>
                    <a:pt x="1603" y="237"/>
                    <a:pt x="1603" y="237"/>
                  </a:cubicBezTo>
                  <a:cubicBezTo>
                    <a:pt x="1603" y="94"/>
                    <a:pt x="1427" y="0"/>
                    <a:pt x="1427" y="0"/>
                  </a:cubicBez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 sz="1600"/>
            </a:p>
          </p:txBody>
        </p:sp>
        <p:sp>
          <p:nvSpPr>
            <p:cNvPr id="24" name="Freeform 20"/>
            <p:cNvSpPr>
              <a:spLocks/>
            </p:cNvSpPr>
            <p:nvPr userDrawn="1"/>
          </p:nvSpPr>
          <p:spPr bwMode="gray">
            <a:xfrm>
              <a:off x="8602663" y="396875"/>
              <a:ext cx="130175" cy="211138"/>
            </a:xfrm>
            <a:custGeom>
              <a:avLst/>
              <a:gdLst>
                <a:gd name="T0" fmla="*/ 1467 w 1707"/>
                <a:gd name="T1" fmla="*/ 479 h 2755"/>
                <a:gd name="T2" fmla="*/ 1019 w 1707"/>
                <a:gd name="T3" fmla="*/ 276 h 2755"/>
                <a:gd name="T4" fmla="*/ 504 w 1707"/>
                <a:gd name="T5" fmla="*/ 677 h 2755"/>
                <a:gd name="T6" fmla="*/ 995 w 1707"/>
                <a:gd name="T7" fmla="*/ 1174 h 2755"/>
                <a:gd name="T8" fmla="*/ 1705 w 1707"/>
                <a:gd name="T9" fmla="*/ 1974 h 2755"/>
                <a:gd name="T10" fmla="*/ 651 w 1707"/>
                <a:gd name="T11" fmla="*/ 2755 h 2755"/>
                <a:gd name="T12" fmla="*/ 155 w 1707"/>
                <a:gd name="T13" fmla="*/ 2686 h 2755"/>
                <a:gd name="T14" fmla="*/ 0 w 1707"/>
                <a:gd name="T15" fmla="*/ 2177 h 2755"/>
                <a:gd name="T16" fmla="*/ 658 w 1707"/>
                <a:gd name="T17" fmla="*/ 2466 h 2755"/>
                <a:gd name="T18" fmla="*/ 1252 w 1707"/>
                <a:gd name="T19" fmla="*/ 2030 h 2755"/>
                <a:gd name="T20" fmla="*/ 46 w 1707"/>
                <a:gd name="T21" fmla="*/ 731 h 2755"/>
                <a:gd name="T22" fmla="*/ 973 w 1707"/>
                <a:gd name="T23" fmla="*/ 0 h 2755"/>
                <a:gd name="T24" fmla="*/ 1467 w 1707"/>
                <a:gd name="T25" fmla="*/ 69 h 2755"/>
                <a:gd name="T26" fmla="*/ 1467 w 1707"/>
                <a:gd name="T27" fmla="*/ 479 h 2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07" h="2755">
                  <a:moveTo>
                    <a:pt x="1467" y="479"/>
                  </a:moveTo>
                  <a:cubicBezTo>
                    <a:pt x="1467" y="479"/>
                    <a:pt x="1352" y="277"/>
                    <a:pt x="1019" y="276"/>
                  </a:cubicBezTo>
                  <a:cubicBezTo>
                    <a:pt x="686" y="275"/>
                    <a:pt x="505" y="450"/>
                    <a:pt x="504" y="677"/>
                  </a:cubicBezTo>
                  <a:cubicBezTo>
                    <a:pt x="503" y="934"/>
                    <a:pt x="696" y="1031"/>
                    <a:pt x="995" y="1174"/>
                  </a:cubicBezTo>
                  <a:cubicBezTo>
                    <a:pt x="1279" y="1311"/>
                    <a:pt x="1707" y="1499"/>
                    <a:pt x="1705" y="1974"/>
                  </a:cubicBezTo>
                  <a:cubicBezTo>
                    <a:pt x="1704" y="2399"/>
                    <a:pt x="1327" y="2755"/>
                    <a:pt x="651" y="2755"/>
                  </a:cubicBezTo>
                  <a:cubicBezTo>
                    <a:pt x="442" y="2754"/>
                    <a:pt x="155" y="2686"/>
                    <a:pt x="155" y="2686"/>
                  </a:cubicBezTo>
                  <a:cubicBezTo>
                    <a:pt x="0" y="2177"/>
                    <a:pt x="0" y="2177"/>
                    <a:pt x="0" y="2177"/>
                  </a:cubicBezTo>
                  <a:cubicBezTo>
                    <a:pt x="143" y="2316"/>
                    <a:pt x="397" y="2466"/>
                    <a:pt x="658" y="2466"/>
                  </a:cubicBezTo>
                  <a:cubicBezTo>
                    <a:pt x="929" y="2466"/>
                    <a:pt x="1252" y="2298"/>
                    <a:pt x="1252" y="2030"/>
                  </a:cubicBezTo>
                  <a:cubicBezTo>
                    <a:pt x="1252" y="1512"/>
                    <a:pt x="46" y="1598"/>
                    <a:pt x="46" y="731"/>
                  </a:cubicBezTo>
                  <a:cubicBezTo>
                    <a:pt x="46" y="433"/>
                    <a:pt x="254" y="0"/>
                    <a:pt x="973" y="0"/>
                  </a:cubicBezTo>
                  <a:cubicBezTo>
                    <a:pt x="1207" y="0"/>
                    <a:pt x="1467" y="69"/>
                    <a:pt x="1467" y="69"/>
                  </a:cubicBezTo>
                  <a:lnTo>
                    <a:pt x="1467" y="479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 sz="1600"/>
            </a:p>
          </p:txBody>
        </p:sp>
      </p:grpSp>
    </p:spTree>
    <p:extLst>
      <p:ext uri="{BB962C8B-B14F-4D97-AF65-F5344CB8AC3E}">
        <p14:creationId xmlns:p14="http://schemas.microsoft.com/office/powerpoint/2010/main" val="113284671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SE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platzhalter 1">
            <a:extLst>
              <a:ext uri="{FF2B5EF4-FFF2-40B4-BE49-F238E27FC236}">
                <a16:creationId xmlns:a16="http://schemas.microsoft.com/office/drawing/2014/main" id="{4BD984CE-B6D1-49A0-A74F-AD8B699FAFC7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250825" y="34462"/>
            <a:ext cx="6758456" cy="499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/>
            </a:lvl1pPr>
          </a:lstStyle>
          <a:p>
            <a:pPr lvl="0" algn="l" rtl="0" fontAlgn="base">
              <a:spcBef>
                <a:spcPct val="0"/>
              </a:spcBef>
              <a:spcAft>
                <a:spcPct val="0"/>
              </a:spcAft>
              <a:tabLst>
                <a:tab pos="3676283" algn="l"/>
              </a:tabLst>
            </a:pPr>
            <a:r>
              <a:rPr lang="en-US" noProof="0"/>
              <a:t>Click to add title – 24 </a:t>
            </a:r>
            <a:r>
              <a:rPr lang="en-US" noProof="0" err="1"/>
              <a:t>pt</a:t>
            </a:r>
            <a:r>
              <a:rPr lang="en-US" noProof="0"/>
              <a:t> Calibri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8A817F4-930B-4C1C-83AF-4F1204969FD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50826" y="520702"/>
            <a:ext cx="7286625" cy="2921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40" i="1"/>
            </a:lvl1pPr>
          </a:lstStyle>
          <a:p>
            <a:pPr lvl="0"/>
            <a:r>
              <a:rPr lang="en-US"/>
              <a:t>Click to add </a:t>
            </a:r>
            <a:r>
              <a:rPr lang="en-US" err="1"/>
              <a:t>subhed</a:t>
            </a:r>
            <a:r>
              <a:rPr lang="en-US"/>
              <a:t> – 16pt Calibri italics</a:t>
            </a:r>
            <a:endParaRPr lang="en-SG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CB930D9-A3A4-46CE-9236-240D714F0A8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12750" y="1117600"/>
            <a:ext cx="8134350" cy="3568700"/>
          </a:xfrm>
          <a:prstGeom prst="rect">
            <a:avLst/>
          </a:prstGeom>
        </p:spPr>
        <p:txBody>
          <a:bodyPr/>
          <a:lstStyle>
            <a:lvl1pPr marL="266681" indent="-266681">
              <a:defRPr/>
            </a:lvl1pPr>
            <a:lvl2pPr marL="895283" indent="-266681"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11405045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MASE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platzhalter 1">
            <a:extLst>
              <a:ext uri="{FF2B5EF4-FFF2-40B4-BE49-F238E27FC236}">
                <a16:creationId xmlns:a16="http://schemas.microsoft.com/office/drawing/2014/main" id="{4BD984CE-B6D1-49A0-A74F-AD8B699FAFC7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250825" y="34462"/>
            <a:ext cx="6758456" cy="499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/>
            </a:lvl1pPr>
          </a:lstStyle>
          <a:p>
            <a:pPr lvl="0" algn="l" rtl="0" fontAlgn="base">
              <a:spcBef>
                <a:spcPct val="0"/>
              </a:spcBef>
              <a:spcAft>
                <a:spcPct val="0"/>
              </a:spcAft>
              <a:tabLst>
                <a:tab pos="3676375" algn="l"/>
              </a:tabLst>
            </a:pPr>
            <a:r>
              <a:rPr lang="en-US" noProof="0"/>
              <a:t>Click to add title – 24 </a:t>
            </a:r>
            <a:r>
              <a:rPr lang="en-US" noProof="0" err="1"/>
              <a:t>pt</a:t>
            </a:r>
            <a:r>
              <a:rPr lang="en-US" noProof="0"/>
              <a:t> Calibri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8A817F4-930B-4C1C-83AF-4F1204969FD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50826" y="520702"/>
            <a:ext cx="7286625" cy="2921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40" i="1"/>
            </a:lvl1pPr>
          </a:lstStyle>
          <a:p>
            <a:pPr lvl="0"/>
            <a:r>
              <a:rPr lang="en-US"/>
              <a:t>Click to add </a:t>
            </a:r>
            <a:r>
              <a:rPr lang="en-US" err="1"/>
              <a:t>subhed</a:t>
            </a:r>
            <a:r>
              <a:rPr lang="en-US"/>
              <a:t> – 16pt Calibri italics</a:t>
            </a:r>
            <a:endParaRPr lang="en-SG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CB930D9-A3A4-46CE-9236-240D714F0A8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12750" y="1117600"/>
            <a:ext cx="8134350" cy="3568700"/>
          </a:xfrm>
          <a:prstGeom prst="rect">
            <a:avLst/>
          </a:prstGeom>
        </p:spPr>
        <p:txBody>
          <a:bodyPr/>
          <a:lstStyle>
            <a:lvl1pPr marL="266687" indent="-266687">
              <a:defRPr/>
            </a:lvl1pPr>
            <a:lvl2pPr marL="895306" indent="-266687"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65717870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MASE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platzhalter 1">
            <a:extLst>
              <a:ext uri="{FF2B5EF4-FFF2-40B4-BE49-F238E27FC236}">
                <a16:creationId xmlns:a16="http://schemas.microsoft.com/office/drawing/2014/main" id="{4BD984CE-B6D1-49A0-A74F-AD8B699FAFC7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250825" y="34462"/>
            <a:ext cx="6758456" cy="499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/>
            </a:lvl1pPr>
          </a:lstStyle>
          <a:p>
            <a:pPr lvl="0" algn="l" rtl="0" fontAlgn="base">
              <a:spcBef>
                <a:spcPct val="0"/>
              </a:spcBef>
              <a:spcAft>
                <a:spcPct val="0"/>
              </a:spcAft>
              <a:tabLst>
                <a:tab pos="3676467" algn="l"/>
              </a:tabLst>
            </a:pPr>
            <a:r>
              <a:rPr lang="en-US" noProof="0"/>
              <a:t>Click to add title – 24 </a:t>
            </a:r>
            <a:r>
              <a:rPr lang="en-US" noProof="0" err="1"/>
              <a:t>pt</a:t>
            </a:r>
            <a:r>
              <a:rPr lang="en-US" noProof="0"/>
              <a:t> Calibri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8A817F4-930B-4C1C-83AF-4F1204969FD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50826" y="520701"/>
            <a:ext cx="7286625" cy="2921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40" i="1"/>
            </a:lvl1pPr>
          </a:lstStyle>
          <a:p>
            <a:pPr lvl="0"/>
            <a:r>
              <a:rPr lang="en-US"/>
              <a:t>Click to add </a:t>
            </a:r>
            <a:r>
              <a:rPr lang="en-US" err="1"/>
              <a:t>subhed</a:t>
            </a:r>
            <a:r>
              <a:rPr lang="en-US"/>
              <a:t> – 16pt Calibri italics</a:t>
            </a:r>
            <a:endParaRPr lang="en-SG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CB930D9-A3A4-46CE-9236-240D714F0A8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12750" y="1117600"/>
            <a:ext cx="8134350" cy="3568700"/>
          </a:xfrm>
          <a:prstGeom prst="rect">
            <a:avLst/>
          </a:prstGeom>
        </p:spPr>
        <p:txBody>
          <a:bodyPr/>
          <a:lstStyle>
            <a:lvl1pPr marL="266693" indent="-266693">
              <a:defRPr/>
            </a:lvl1pPr>
            <a:lvl2pPr marL="895328" indent="-266693"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74096471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付プレースホルダー 1">
            <a:extLst>
              <a:ext uri="{FF2B5EF4-FFF2-40B4-BE49-F238E27FC236}">
                <a16:creationId xmlns:a16="http://schemas.microsoft.com/office/drawing/2014/main" id="{9740B85F-3D7B-45A2-9170-802F38AEA3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48C7C0-31A8-4F64-96FA-86D04F024E50}" type="datetimeFigureOut">
              <a:rPr kumimoji="1" lang="ja-JP" altLang="en-US" smtClean="0"/>
              <a:t>2022/3/22</a:t>
            </a:fld>
            <a:endParaRPr kumimoji="1" lang="ja-JP" altLang="en-US"/>
          </a:p>
        </p:txBody>
      </p:sp>
      <p:sp>
        <p:nvSpPr>
          <p:cNvPr id="3" name="フッター プレースホルダー 2">
            <a:extLst>
              <a:ext uri="{FF2B5EF4-FFF2-40B4-BE49-F238E27FC236}">
                <a16:creationId xmlns:a16="http://schemas.microsoft.com/office/drawing/2014/main" id="{60293518-A3DA-45F4-9F3D-6EFC4A74EC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B5AFDA52-ED3F-4C6F-95BA-FBA24AF7D4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B1BF8D-4008-4FD3-B1CB-189AE96DCFB3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59234786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General DV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ct 3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0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3" name="Object 3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8832854" y="4833939"/>
            <a:ext cx="311149" cy="273844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ctr">
              <a:defRPr sz="560" b="0" i="0">
                <a:solidFill>
                  <a:schemeClr val="tx1"/>
                </a:solidFill>
                <a:latin typeface="Gotham Medium"/>
                <a:cs typeface="Gotham Medium"/>
              </a:defRPr>
            </a:lvl1pPr>
          </a:lstStyle>
          <a:p>
            <a:pPr defTabSz="457166" fontAlgn="auto">
              <a:spcBef>
                <a:spcPts val="0"/>
              </a:spcBef>
              <a:spcAft>
                <a:spcPts val="0"/>
              </a:spcAft>
              <a:defRPr/>
            </a:pPr>
            <a:fld id="{7B1193AA-B6AA-F345-B5BC-E4EE7822CB8A}" type="slidenum">
              <a:rPr kumimoji="0" lang="en-US" sz="700" smtClean="0">
                <a:solidFill>
                  <a:srgbClr val="303030"/>
                </a:solidFill>
                <a:latin typeface="Century Gothic"/>
                <a:ea typeface="Meiryo"/>
              </a:rPr>
              <a:pPr defTabSz="457166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kumimoji="0" lang="en-US" sz="700">
              <a:solidFill>
                <a:srgbClr val="303030"/>
              </a:solidFill>
              <a:latin typeface="Century Gothic"/>
              <a:ea typeface="Meiryo"/>
            </a:endParaRPr>
          </a:p>
        </p:txBody>
      </p:sp>
      <p:sp>
        <p:nvSpPr>
          <p:cNvPr id="9" name="Title 60">
            <a:extLst>
              <a:ext uri="{FF2B5EF4-FFF2-40B4-BE49-F238E27FC236}">
                <a16:creationId xmlns:a16="http://schemas.microsoft.com/office/drawing/2014/main" id="{9C8F5030-C600-401B-89CE-D796F1D93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840" y="209673"/>
            <a:ext cx="8398152" cy="574096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Bef>
                <a:spcPts val="1200"/>
              </a:spcBef>
              <a:defRPr/>
            </a:lvl1pPr>
          </a:lstStyle>
          <a:p>
            <a:pPr>
              <a:spcBef>
                <a:spcPts val="900"/>
              </a:spcBef>
            </a:pPr>
            <a:endParaRPr kumimoji="1" lang="en-US" altLang="ja-JP" sz="2000">
              <a:latin typeface="+mj-ea"/>
            </a:endParaRPr>
          </a:p>
        </p:txBody>
      </p: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AC473980-3371-0E4B-94E0-8F19D3B2BB09}"/>
              </a:ext>
            </a:extLst>
          </p:cNvPr>
          <p:cNvSpPr txBox="1"/>
          <p:nvPr userDrawn="1"/>
        </p:nvSpPr>
        <p:spPr>
          <a:xfrm>
            <a:off x="76201" y="4833939"/>
            <a:ext cx="3600500" cy="21544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 defTabSz="457166" fontAlgn="auto">
              <a:spcBef>
                <a:spcPts val="0"/>
              </a:spcBef>
              <a:spcAft>
                <a:spcPts val="0"/>
              </a:spcAft>
            </a:pPr>
            <a:r>
              <a:rPr lang="sk-SK" altLang="ja-JP" sz="800">
                <a:latin typeface="Century Gothic" panose="020B0502020202020204" pitchFamily="34" charset="0"/>
                <a:ea typeface="AXIS Std R" charset="-128"/>
                <a:cs typeface="AXIS Std R" charset="-128"/>
              </a:rPr>
              <a:t>Copyright © 20</a:t>
            </a:r>
            <a:r>
              <a:rPr lang="en-US" altLang="ja-JP" sz="800">
                <a:latin typeface="Century Gothic" panose="020B0502020202020204" pitchFamily="34" charset="0"/>
                <a:ea typeface="AXIS Std R" charset="-128"/>
                <a:cs typeface="AXIS Std R" charset="-128"/>
              </a:rPr>
              <a:t>20</a:t>
            </a:r>
            <a:r>
              <a:rPr lang="sk-SK" altLang="ja-JP" sz="800">
                <a:latin typeface="Century Gothic" panose="020B0502020202020204" pitchFamily="34" charset="0"/>
                <a:ea typeface="AXIS Std R" charset="-128"/>
                <a:cs typeface="AXIS Std R" charset="-128"/>
              </a:rPr>
              <a:t> </a:t>
            </a:r>
            <a:r>
              <a:rPr lang="en-US" altLang="ja-JP" sz="800">
                <a:latin typeface="Century Gothic" panose="020B0502020202020204" pitchFamily="34" charset="0"/>
                <a:ea typeface="AXIS Std R" charset="-128"/>
                <a:cs typeface="AXIS Std R" charset="-128"/>
              </a:rPr>
              <a:t>archetype*</a:t>
            </a:r>
            <a:endParaRPr lang="ja-JP" altLang="en-US" sz="800">
              <a:latin typeface="Century Gothic" panose="020B0502020202020204" pitchFamily="34" charset="0"/>
              <a:ea typeface="AXIS Std R" charset="-128"/>
              <a:cs typeface="AXIS Std R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7086294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altLang="ja-JP"/>
          </a:p>
          <a:p>
            <a:pPr lvl="5"/>
            <a:r>
              <a:rPr lang="ja-JP" altLang="en-US"/>
              <a:t>テキスト</a:t>
            </a:r>
            <a:endParaRPr lang="en-US" altLang="ja-JP"/>
          </a:p>
          <a:p>
            <a:pPr lvl="6"/>
            <a:r>
              <a:rPr lang="ja-JP" altLang="en-US"/>
              <a:t>テキスト</a:t>
            </a:r>
            <a:endParaRPr lang="en-US" altLang="ja-JP"/>
          </a:p>
          <a:p>
            <a:pPr lvl="7"/>
            <a:r>
              <a:rPr lang="ja-JP" altLang="en-US"/>
              <a:t>テキスト</a:t>
            </a:r>
            <a:endParaRPr lang="en-US" altLang="ja-JP"/>
          </a:p>
          <a:p>
            <a:pPr lvl="8"/>
            <a:r>
              <a:rPr lang="ja-JP" altLang="en-US"/>
              <a:t>テキスト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kumimoji="1" lang="en-US" altLang="ja-JP"/>
              <a:t>© 2021 Fujitsu Limited</a:t>
            </a:r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302000" y="4878000"/>
            <a:ext cx="540000" cy="122400"/>
          </a:xfrm>
          <a:prstGeom prst="rect">
            <a:avLst/>
          </a:prstGeom>
        </p:spPr>
        <p:txBody>
          <a:bodyPr/>
          <a:lstStyle/>
          <a:p>
            <a:fld id="{4D029D89-7B63-4C94-AD4D-2E4D6BB83637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755580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図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254"/>
            <a:ext cx="9144000" cy="5140999"/>
          </a:xfrm>
          <a:prstGeom prst="rect">
            <a:avLst/>
          </a:prstGeom>
        </p:spPr>
      </p:pic>
      <p:sp>
        <p:nvSpPr>
          <p:cNvPr id="40" name="Rectangle 42"/>
          <p:cNvSpPr>
            <a:spLocks noGrp="1" noChangeArrowheads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>
              <a:defRPr/>
            </a:pPr>
            <a:r>
              <a:rPr lang="de-DE" altLang="ja-JP"/>
              <a:t>Copyright 2021 FUJITSU LIMITED</a:t>
            </a:r>
          </a:p>
        </p:txBody>
      </p:sp>
      <p:sp>
        <p:nvSpPr>
          <p:cNvPr id="46" name="Title 47"/>
          <p:cNvSpPr>
            <a:spLocks noGrp="1"/>
          </p:cNvSpPr>
          <p:nvPr>
            <p:ph type="title" hasCustomPrompt="1"/>
          </p:nvPr>
        </p:nvSpPr>
        <p:spPr bwMode="gray">
          <a:xfrm>
            <a:off x="3851920" y="1360690"/>
            <a:ext cx="4968552" cy="112700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defTabSz="913784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tabLst>
                <a:tab pos="3674169" algn="l"/>
              </a:tabLst>
              <a:defRPr kumimoji="1" lang="en-US" altLang="ja-JP" sz="2240" kern="1200" baseline="0" noProof="0" smtClean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j-cs"/>
              </a:defRPr>
            </a:lvl1pPr>
          </a:lstStyle>
          <a:p>
            <a:r>
              <a:rPr lang="ja-JP" altLang="en-US" noProof="0"/>
              <a:t>プレゼンテーションタイトル</a:t>
            </a:r>
            <a:endParaRPr lang="en-US" noProof="0"/>
          </a:p>
        </p:txBody>
      </p:sp>
      <p:sp>
        <p:nvSpPr>
          <p:cNvPr id="48" name="テキスト プレースホルダー 9"/>
          <p:cNvSpPr>
            <a:spLocks noGrp="1"/>
          </p:cNvSpPr>
          <p:nvPr>
            <p:ph type="body" sz="quarter" idx="11" hasCustomPrompt="1"/>
          </p:nvPr>
        </p:nvSpPr>
        <p:spPr>
          <a:xfrm>
            <a:off x="3853387" y="3127085"/>
            <a:ext cx="4968552" cy="246221"/>
          </a:xfrm>
        </p:spPr>
        <p:txBody>
          <a:bodyPr wrap="square" anchor="b">
            <a:spAutoFit/>
          </a:bodyPr>
          <a:lstStyle>
            <a:lvl1pPr marL="0" indent="0" algn="l">
              <a:lnSpc>
                <a:spcPct val="100000"/>
              </a:lnSpc>
              <a:buNone/>
              <a:defRPr sz="1280" baseline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lang="ja-JP" altLang="en-US"/>
              <a:t>役職名</a:t>
            </a:r>
            <a:endParaRPr lang="de-DE" altLang="ja-JP"/>
          </a:p>
        </p:txBody>
      </p:sp>
      <p:sp>
        <p:nvSpPr>
          <p:cNvPr id="49" name="テキスト プレースホルダー 9"/>
          <p:cNvSpPr>
            <a:spLocks noGrp="1"/>
          </p:cNvSpPr>
          <p:nvPr>
            <p:ph type="body" sz="quarter" idx="12" hasCustomPrompt="1"/>
          </p:nvPr>
        </p:nvSpPr>
        <p:spPr>
          <a:xfrm>
            <a:off x="3851920" y="2819256"/>
            <a:ext cx="4968552" cy="246221"/>
          </a:xfrm>
        </p:spPr>
        <p:txBody>
          <a:bodyPr wrap="square" anchor="t">
            <a:spAutoFit/>
          </a:bodyPr>
          <a:lstStyle>
            <a:lvl1pPr marL="0" indent="0" algn="l">
              <a:lnSpc>
                <a:spcPct val="100000"/>
              </a:lnSpc>
              <a:buNone/>
              <a:defRPr sz="1280" baseline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lang="ja-JP" altLang="en-US"/>
              <a:t>会社名</a:t>
            </a:r>
            <a:endParaRPr lang="de-DE" altLang="ja-JP"/>
          </a:p>
        </p:txBody>
      </p:sp>
      <p:sp>
        <p:nvSpPr>
          <p:cNvPr id="11" name="テキスト プレースホルダー 42"/>
          <p:cNvSpPr>
            <a:spLocks noGrp="1"/>
          </p:cNvSpPr>
          <p:nvPr>
            <p:ph type="body" sz="quarter" idx="18" hasCustomPrompt="1"/>
          </p:nvPr>
        </p:nvSpPr>
        <p:spPr>
          <a:xfrm>
            <a:off x="467545" y="412177"/>
            <a:ext cx="2462649" cy="175692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208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/>
              <a:t>タイトル</a:t>
            </a:r>
          </a:p>
        </p:txBody>
      </p:sp>
      <p:sp>
        <p:nvSpPr>
          <p:cNvPr id="12" name="テキスト プレースホルダー 42"/>
          <p:cNvSpPr>
            <a:spLocks noGrp="1"/>
          </p:cNvSpPr>
          <p:nvPr>
            <p:ph type="body" sz="quarter" idx="20" hasCustomPrompt="1"/>
          </p:nvPr>
        </p:nvSpPr>
        <p:spPr>
          <a:xfrm>
            <a:off x="466911" y="2768026"/>
            <a:ext cx="2462650" cy="28119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80" baseline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/>
              <a:t>日時</a:t>
            </a:r>
          </a:p>
        </p:txBody>
      </p:sp>
      <p:sp>
        <p:nvSpPr>
          <p:cNvPr id="13" name="テキスト プレースホルダー 42"/>
          <p:cNvSpPr>
            <a:spLocks noGrp="1"/>
          </p:cNvSpPr>
          <p:nvPr>
            <p:ph type="body" sz="quarter" idx="21" hasCustomPrompt="1"/>
          </p:nvPr>
        </p:nvSpPr>
        <p:spPr>
          <a:xfrm>
            <a:off x="466911" y="2439424"/>
            <a:ext cx="2462650" cy="28119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80" baseline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/>
              <a:t>会場</a:t>
            </a:r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854511" y="3497164"/>
            <a:ext cx="4968552" cy="369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456890" rtl="0" eaLnBrk="1" fontAlgn="base" latinLnBrk="0" hangingPunct="1">
              <a:lnSpc>
                <a:spcPct val="100000"/>
              </a:lnSpc>
              <a:spcBef>
                <a:spcPts val="500"/>
              </a:spcBef>
              <a:spcAft>
                <a:spcPts val="200"/>
              </a:spcAft>
              <a:buClr>
                <a:srgbClr val="A30B1A"/>
              </a:buClr>
              <a:buFont typeface="Wingdings" pitchFamily="2" charset="2"/>
              <a:buNone/>
              <a:defRPr kumimoji="1" lang="en-US" altLang="ja-JP" sz="1920" b="0" kern="1200" baseline="0" noProof="0" dirty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1920">
                <a:solidFill>
                  <a:schemeClr val="tx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1920">
                <a:solidFill>
                  <a:schemeClr val="tx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192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1920">
                <a:solidFill>
                  <a:schemeClr val="tx1"/>
                </a:solidFill>
              </a:defRPr>
            </a:lvl5pPr>
            <a:lvl6pPr marL="228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ja-JP" altLang="en-US"/>
              <a:t>プレゼンター氏名</a:t>
            </a:r>
            <a:endParaRPr lang="de-DE" altLang="ja-JP"/>
          </a:p>
        </p:txBody>
      </p:sp>
    </p:spTree>
    <p:extLst>
      <p:ext uri="{BB962C8B-B14F-4D97-AF65-F5344CB8AC3E}">
        <p14:creationId xmlns:p14="http://schemas.microsoft.com/office/powerpoint/2010/main" val="233416615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General DV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ct 3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5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3" name="Object 3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8832853" y="4833939"/>
            <a:ext cx="311149" cy="273844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ctr">
              <a:defRPr sz="560" b="0" i="0">
                <a:solidFill>
                  <a:schemeClr val="tx1"/>
                </a:solidFill>
                <a:latin typeface="Gotham Medium"/>
                <a:cs typeface="Gotham Medium"/>
              </a:defRPr>
            </a:lvl1pPr>
          </a:lstStyle>
          <a:p>
            <a:pPr defTabSz="457178" fontAlgn="auto">
              <a:spcBef>
                <a:spcPts val="0"/>
              </a:spcBef>
              <a:spcAft>
                <a:spcPts val="0"/>
              </a:spcAft>
              <a:defRPr/>
            </a:pPr>
            <a:fld id="{7B1193AA-B6AA-F345-B5BC-E4EE7822CB8A}" type="slidenum">
              <a:rPr kumimoji="0" lang="en-US" sz="700" smtClean="0">
                <a:solidFill>
                  <a:srgbClr val="303030"/>
                </a:solidFill>
                <a:latin typeface="Century Gothic"/>
                <a:ea typeface="Meiryo"/>
              </a:rPr>
              <a:pPr defTabSz="45717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kumimoji="0" lang="en-US" sz="700">
              <a:solidFill>
                <a:srgbClr val="303030"/>
              </a:solidFill>
              <a:latin typeface="Century Gothic"/>
              <a:ea typeface="Meiryo"/>
            </a:endParaRPr>
          </a:p>
        </p:txBody>
      </p:sp>
      <p:sp>
        <p:nvSpPr>
          <p:cNvPr id="9" name="Title 60">
            <a:extLst>
              <a:ext uri="{FF2B5EF4-FFF2-40B4-BE49-F238E27FC236}">
                <a16:creationId xmlns:a16="http://schemas.microsoft.com/office/drawing/2014/main" id="{9C8F5030-C600-401B-89CE-D796F1D93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840" y="209673"/>
            <a:ext cx="8398152" cy="574096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Bef>
                <a:spcPts val="1200"/>
              </a:spcBef>
              <a:defRPr/>
            </a:lvl1pPr>
          </a:lstStyle>
          <a:p>
            <a:pPr>
              <a:spcBef>
                <a:spcPts val="900"/>
              </a:spcBef>
            </a:pPr>
            <a:endParaRPr kumimoji="1" lang="en-US" altLang="ja-JP" sz="2000">
              <a:latin typeface="+mj-ea"/>
            </a:endParaRPr>
          </a:p>
        </p:txBody>
      </p: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AC473980-3371-0E4B-94E0-8F19D3B2BB09}"/>
              </a:ext>
            </a:extLst>
          </p:cNvPr>
          <p:cNvSpPr txBox="1"/>
          <p:nvPr userDrawn="1"/>
        </p:nvSpPr>
        <p:spPr>
          <a:xfrm>
            <a:off x="76201" y="4833939"/>
            <a:ext cx="3600500" cy="21544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 defTabSz="457178" fontAlgn="auto">
              <a:spcBef>
                <a:spcPts val="0"/>
              </a:spcBef>
              <a:spcAft>
                <a:spcPts val="0"/>
              </a:spcAft>
            </a:pPr>
            <a:r>
              <a:rPr lang="sk-SK" altLang="ja-JP" sz="800">
                <a:latin typeface="Century Gothic" panose="020B0502020202020204" pitchFamily="34" charset="0"/>
                <a:ea typeface="AXIS Std R" charset="-128"/>
                <a:cs typeface="AXIS Std R" charset="-128"/>
              </a:rPr>
              <a:t>Copyright © 20</a:t>
            </a:r>
            <a:r>
              <a:rPr lang="en-US" altLang="ja-JP" sz="800">
                <a:latin typeface="Century Gothic" panose="020B0502020202020204" pitchFamily="34" charset="0"/>
                <a:ea typeface="AXIS Std R" charset="-128"/>
                <a:cs typeface="AXIS Std R" charset="-128"/>
              </a:rPr>
              <a:t>20</a:t>
            </a:r>
            <a:r>
              <a:rPr lang="sk-SK" altLang="ja-JP" sz="800">
                <a:latin typeface="Century Gothic" panose="020B0502020202020204" pitchFamily="34" charset="0"/>
                <a:ea typeface="AXIS Std R" charset="-128"/>
                <a:cs typeface="AXIS Std R" charset="-128"/>
              </a:rPr>
              <a:t> </a:t>
            </a:r>
            <a:r>
              <a:rPr lang="en-US" altLang="ja-JP" sz="800">
                <a:latin typeface="Century Gothic" panose="020B0502020202020204" pitchFamily="34" charset="0"/>
                <a:ea typeface="AXIS Std R" charset="-128"/>
                <a:cs typeface="AXIS Std R" charset="-128"/>
              </a:rPr>
              <a:t>archetype*</a:t>
            </a:r>
            <a:endParaRPr lang="ja-JP" altLang="en-US" sz="800">
              <a:latin typeface="Century Gothic" panose="020B0502020202020204" pitchFamily="34" charset="0"/>
              <a:ea typeface="AXIS Std R" charset="-128"/>
              <a:cs typeface="AXIS Std R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77234513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図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253"/>
            <a:ext cx="9144000" cy="5140999"/>
          </a:xfrm>
          <a:prstGeom prst="rect">
            <a:avLst/>
          </a:prstGeom>
        </p:spPr>
      </p:pic>
      <p:sp>
        <p:nvSpPr>
          <p:cNvPr id="40" name="Rectangle 42"/>
          <p:cNvSpPr>
            <a:spLocks noGrp="1" noChangeArrowheads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>
              <a:defRPr/>
            </a:pPr>
            <a:r>
              <a:rPr lang="de-DE" altLang="ja-JP"/>
              <a:t>Copyright 2021 FUJITSU LIMITED</a:t>
            </a:r>
          </a:p>
        </p:txBody>
      </p:sp>
      <p:sp>
        <p:nvSpPr>
          <p:cNvPr id="46" name="Title 47"/>
          <p:cNvSpPr>
            <a:spLocks noGrp="1"/>
          </p:cNvSpPr>
          <p:nvPr>
            <p:ph type="title" hasCustomPrompt="1"/>
          </p:nvPr>
        </p:nvSpPr>
        <p:spPr bwMode="gray">
          <a:xfrm>
            <a:off x="3851920" y="1360690"/>
            <a:ext cx="4968552" cy="112700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defTabSz="913806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tabLst>
                <a:tab pos="3674261" algn="l"/>
              </a:tabLst>
              <a:defRPr kumimoji="1" lang="en-US" altLang="ja-JP" sz="2240" kern="1200" baseline="0" noProof="0" smtClean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j-cs"/>
              </a:defRPr>
            </a:lvl1pPr>
          </a:lstStyle>
          <a:p>
            <a:r>
              <a:rPr lang="ja-JP" altLang="en-US" noProof="0"/>
              <a:t>プレゼンテーションタイトル</a:t>
            </a:r>
            <a:endParaRPr lang="en-US" noProof="0"/>
          </a:p>
        </p:txBody>
      </p:sp>
      <p:sp>
        <p:nvSpPr>
          <p:cNvPr id="48" name="テキスト プレースホルダー 9"/>
          <p:cNvSpPr>
            <a:spLocks noGrp="1"/>
          </p:cNvSpPr>
          <p:nvPr>
            <p:ph type="body" sz="quarter" idx="11" hasCustomPrompt="1"/>
          </p:nvPr>
        </p:nvSpPr>
        <p:spPr>
          <a:xfrm>
            <a:off x="3853387" y="3127084"/>
            <a:ext cx="4968552" cy="246221"/>
          </a:xfrm>
        </p:spPr>
        <p:txBody>
          <a:bodyPr wrap="square" anchor="b">
            <a:spAutoFit/>
          </a:bodyPr>
          <a:lstStyle>
            <a:lvl1pPr marL="0" indent="0" algn="l">
              <a:lnSpc>
                <a:spcPct val="100000"/>
              </a:lnSpc>
              <a:buNone/>
              <a:defRPr sz="1280" baseline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lang="ja-JP" altLang="en-US"/>
              <a:t>役職名</a:t>
            </a:r>
            <a:endParaRPr lang="de-DE" altLang="ja-JP"/>
          </a:p>
        </p:txBody>
      </p:sp>
      <p:sp>
        <p:nvSpPr>
          <p:cNvPr id="49" name="テキスト プレースホルダー 9"/>
          <p:cNvSpPr>
            <a:spLocks noGrp="1"/>
          </p:cNvSpPr>
          <p:nvPr>
            <p:ph type="body" sz="quarter" idx="12" hasCustomPrompt="1"/>
          </p:nvPr>
        </p:nvSpPr>
        <p:spPr>
          <a:xfrm>
            <a:off x="3851920" y="2819255"/>
            <a:ext cx="4968552" cy="246221"/>
          </a:xfrm>
        </p:spPr>
        <p:txBody>
          <a:bodyPr wrap="square" anchor="t">
            <a:spAutoFit/>
          </a:bodyPr>
          <a:lstStyle>
            <a:lvl1pPr marL="0" indent="0" algn="l">
              <a:lnSpc>
                <a:spcPct val="100000"/>
              </a:lnSpc>
              <a:buNone/>
              <a:defRPr sz="1280" baseline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lang="ja-JP" altLang="en-US"/>
              <a:t>会社名</a:t>
            </a:r>
            <a:endParaRPr lang="de-DE" altLang="ja-JP"/>
          </a:p>
        </p:txBody>
      </p:sp>
      <p:sp>
        <p:nvSpPr>
          <p:cNvPr id="11" name="テキスト プレースホルダー 42"/>
          <p:cNvSpPr>
            <a:spLocks noGrp="1"/>
          </p:cNvSpPr>
          <p:nvPr>
            <p:ph type="body" sz="quarter" idx="18" hasCustomPrompt="1"/>
          </p:nvPr>
        </p:nvSpPr>
        <p:spPr>
          <a:xfrm>
            <a:off x="467545" y="412177"/>
            <a:ext cx="2462649" cy="175692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208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/>
              <a:t>タイトル</a:t>
            </a:r>
          </a:p>
        </p:txBody>
      </p:sp>
      <p:sp>
        <p:nvSpPr>
          <p:cNvPr id="12" name="テキスト プレースホルダー 42"/>
          <p:cNvSpPr>
            <a:spLocks noGrp="1"/>
          </p:cNvSpPr>
          <p:nvPr>
            <p:ph type="body" sz="quarter" idx="20" hasCustomPrompt="1"/>
          </p:nvPr>
        </p:nvSpPr>
        <p:spPr>
          <a:xfrm>
            <a:off x="466911" y="2768026"/>
            <a:ext cx="2462650" cy="28119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80" baseline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/>
              <a:t>日時</a:t>
            </a:r>
          </a:p>
        </p:txBody>
      </p:sp>
      <p:sp>
        <p:nvSpPr>
          <p:cNvPr id="13" name="テキスト プレースホルダー 42"/>
          <p:cNvSpPr>
            <a:spLocks noGrp="1"/>
          </p:cNvSpPr>
          <p:nvPr>
            <p:ph type="body" sz="quarter" idx="21" hasCustomPrompt="1"/>
          </p:nvPr>
        </p:nvSpPr>
        <p:spPr>
          <a:xfrm>
            <a:off x="466911" y="2439424"/>
            <a:ext cx="2462650" cy="28119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80" baseline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/>
              <a:t>会場</a:t>
            </a:r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854511" y="3497164"/>
            <a:ext cx="4968552" cy="369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456902" rtl="0" eaLnBrk="1" fontAlgn="base" latinLnBrk="0" hangingPunct="1">
              <a:lnSpc>
                <a:spcPct val="100000"/>
              </a:lnSpc>
              <a:spcBef>
                <a:spcPts val="500"/>
              </a:spcBef>
              <a:spcAft>
                <a:spcPts val="200"/>
              </a:spcAft>
              <a:buClr>
                <a:srgbClr val="A30B1A"/>
              </a:buClr>
              <a:buFont typeface="Wingdings" pitchFamily="2" charset="2"/>
              <a:buNone/>
              <a:defRPr kumimoji="1" lang="en-US" altLang="ja-JP" sz="1920" b="0" kern="1200" baseline="0" noProof="0" dirty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1920">
                <a:solidFill>
                  <a:schemeClr val="tx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1920">
                <a:solidFill>
                  <a:schemeClr val="tx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192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1920">
                <a:solidFill>
                  <a:schemeClr val="tx1"/>
                </a:solidFill>
              </a:defRPr>
            </a:lvl5pPr>
            <a:lvl6pPr marL="22845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2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ja-JP" altLang="en-US"/>
              <a:t>プレゼンター氏名</a:t>
            </a:r>
            <a:endParaRPr lang="de-DE" altLang="ja-JP"/>
          </a:p>
        </p:txBody>
      </p:sp>
    </p:spTree>
    <p:extLst>
      <p:ext uri="{BB962C8B-B14F-4D97-AF65-F5344CB8AC3E}">
        <p14:creationId xmlns:p14="http://schemas.microsoft.com/office/powerpoint/2010/main" val="224399196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General DV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ct 3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0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3" name="Object 3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8832852" y="4833939"/>
            <a:ext cx="311149" cy="273844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ctr">
              <a:defRPr sz="560" b="0" i="0">
                <a:solidFill>
                  <a:schemeClr val="tx1"/>
                </a:solidFill>
                <a:latin typeface="Gotham Medium"/>
                <a:cs typeface="Gotham Medium"/>
              </a:defRPr>
            </a:lvl1pPr>
          </a:lstStyle>
          <a:p>
            <a:pPr defTabSz="457189" fontAlgn="auto">
              <a:spcBef>
                <a:spcPts val="0"/>
              </a:spcBef>
              <a:spcAft>
                <a:spcPts val="0"/>
              </a:spcAft>
              <a:defRPr/>
            </a:pPr>
            <a:fld id="{7B1193AA-B6AA-F345-B5BC-E4EE7822CB8A}" type="slidenum">
              <a:rPr kumimoji="0" lang="en-US" sz="700" smtClean="0">
                <a:solidFill>
                  <a:srgbClr val="303030"/>
                </a:solidFill>
                <a:latin typeface="Century Gothic"/>
                <a:ea typeface="Meiryo"/>
              </a:rPr>
              <a:pPr defTabSz="45718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kumimoji="0" lang="en-US" sz="700">
              <a:solidFill>
                <a:srgbClr val="303030"/>
              </a:solidFill>
              <a:latin typeface="Century Gothic"/>
              <a:ea typeface="Meiryo"/>
            </a:endParaRPr>
          </a:p>
        </p:txBody>
      </p:sp>
      <p:sp>
        <p:nvSpPr>
          <p:cNvPr id="9" name="Title 60">
            <a:extLst>
              <a:ext uri="{FF2B5EF4-FFF2-40B4-BE49-F238E27FC236}">
                <a16:creationId xmlns:a16="http://schemas.microsoft.com/office/drawing/2014/main" id="{9C8F5030-C600-401B-89CE-D796F1D93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840" y="209673"/>
            <a:ext cx="8398152" cy="574096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Bef>
                <a:spcPts val="1200"/>
              </a:spcBef>
              <a:defRPr/>
            </a:lvl1pPr>
          </a:lstStyle>
          <a:p>
            <a:pPr>
              <a:spcBef>
                <a:spcPts val="900"/>
              </a:spcBef>
            </a:pPr>
            <a:endParaRPr kumimoji="1" lang="en-US" altLang="ja-JP" sz="2000">
              <a:latin typeface="+mj-ea"/>
            </a:endParaRPr>
          </a:p>
        </p:txBody>
      </p: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AC473980-3371-0E4B-94E0-8F19D3B2BB09}"/>
              </a:ext>
            </a:extLst>
          </p:cNvPr>
          <p:cNvSpPr txBox="1"/>
          <p:nvPr userDrawn="1"/>
        </p:nvSpPr>
        <p:spPr>
          <a:xfrm>
            <a:off x="76201" y="4833939"/>
            <a:ext cx="3600500" cy="21544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 defTabSz="457189" fontAlgn="auto">
              <a:spcBef>
                <a:spcPts val="0"/>
              </a:spcBef>
              <a:spcAft>
                <a:spcPts val="0"/>
              </a:spcAft>
            </a:pPr>
            <a:r>
              <a:rPr lang="sk-SK" altLang="ja-JP" sz="800">
                <a:latin typeface="Century Gothic" panose="020B0502020202020204" pitchFamily="34" charset="0"/>
                <a:ea typeface="AXIS Std R" charset="-128"/>
                <a:cs typeface="AXIS Std R" charset="-128"/>
              </a:rPr>
              <a:t>Copyright © 20</a:t>
            </a:r>
            <a:r>
              <a:rPr lang="en-US" altLang="ja-JP" sz="800">
                <a:latin typeface="Century Gothic" panose="020B0502020202020204" pitchFamily="34" charset="0"/>
                <a:ea typeface="AXIS Std R" charset="-128"/>
                <a:cs typeface="AXIS Std R" charset="-128"/>
              </a:rPr>
              <a:t>20</a:t>
            </a:r>
            <a:r>
              <a:rPr lang="sk-SK" altLang="ja-JP" sz="800">
                <a:latin typeface="Century Gothic" panose="020B0502020202020204" pitchFamily="34" charset="0"/>
                <a:ea typeface="AXIS Std R" charset="-128"/>
                <a:cs typeface="AXIS Std R" charset="-128"/>
              </a:rPr>
              <a:t> </a:t>
            </a:r>
            <a:r>
              <a:rPr lang="en-US" altLang="ja-JP" sz="800">
                <a:latin typeface="Century Gothic" panose="020B0502020202020204" pitchFamily="34" charset="0"/>
                <a:ea typeface="AXIS Std R" charset="-128"/>
                <a:cs typeface="AXIS Std R" charset="-128"/>
              </a:rPr>
              <a:t>archetype*</a:t>
            </a:r>
            <a:endParaRPr lang="ja-JP" altLang="en-US" sz="800">
              <a:latin typeface="Century Gothic" panose="020B0502020202020204" pitchFamily="34" charset="0"/>
              <a:ea typeface="AXIS Std R" charset="-128"/>
              <a:cs typeface="AXIS Std R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81329831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図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252"/>
            <a:ext cx="9144000" cy="5140999"/>
          </a:xfrm>
          <a:prstGeom prst="rect">
            <a:avLst/>
          </a:prstGeom>
        </p:spPr>
      </p:pic>
      <p:sp>
        <p:nvSpPr>
          <p:cNvPr id="40" name="Rectangle 42"/>
          <p:cNvSpPr>
            <a:spLocks noGrp="1" noChangeArrowheads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>
              <a:defRPr/>
            </a:pPr>
            <a:r>
              <a:rPr lang="de-DE" altLang="ja-JP"/>
              <a:t>Copyright 2021 FUJITSU LIMITED</a:t>
            </a:r>
          </a:p>
        </p:txBody>
      </p:sp>
      <p:sp>
        <p:nvSpPr>
          <p:cNvPr id="46" name="Title 47"/>
          <p:cNvSpPr>
            <a:spLocks noGrp="1"/>
          </p:cNvSpPr>
          <p:nvPr>
            <p:ph type="title" hasCustomPrompt="1"/>
          </p:nvPr>
        </p:nvSpPr>
        <p:spPr bwMode="gray">
          <a:xfrm>
            <a:off x="3851920" y="1360689"/>
            <a:ext cx="4968552" cy="112700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defTabSz="913829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tabLst>
                <a:tab pos="3674352" algn="l"/>
              </a:tabLst>
              <a:defRPr kumimoji="1" lang="en-US" altLang="ja-JP" sz="2240" kern="1200" baseline="0" noProof="0" smtClean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j-cs"/>
              </a:defRPr>
            </a:lvl1pPr>
          </a:lstStyle>
          <a:p>
            <a:r>
              <a:rPr lang="ja-JP" altLang="en-US" noProof="0"/>
              <a:t>プレゼンテーションタイトル</a:t>
            </a:r>
            <a:endParaRPr lang="en-US" noProof="0"/>
          </a:p>
        </p:txBody>
      </p:sp>
      <p:sp>
        <p:nvSpPr>
          <p:cNvPr id="48" name="テキスト プレースホルダー 9"/>
          <p:cNvSpPr>
            <a:spLocks noGrp="1"/>
          </p:cNvSpPr>
          <p:nvPr>
            <p:ph type="body" sz="quarter" idx="11" hasCustomPrompt="1"/>
          </p:nvPr>
        </p:nvSpPr>
        <p:spPr>
          <a:xfrm>
            <a:off x="3853387" y="3127083"/>
            <a:ext cx="4968552" cy="246221"/>
          </a:xfrm>
        </p:spPr>
        <p:txBody>
          <a:bodyPr wrap="square" anchor="b">
            <a:spAutoFit/>
          </a:bodyPr>
          <a:lstStyle>
            <a:lvl1pPr marL="0" indent="0" algn="l">
              <a:lnSpc>
                <a:spcPct val="100000"/>
              </a:lnSpc>
              <a:buNone/>
              <a:defRPr sz="1280" baseline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lang="ja-JP" altLang="en-US"/>
              <a:t>役職名</a:t>
            </a:r>
            <a:endParaRPr lang="de-DE" altLang="ja-JP"/>
          </a:p>
        </p:txBody>
      </p:sp>
      <p:sp>
        <p:nvSpPr>
          <p:cNvPr id="49" name="テキスト プレースホルダー 9"/>
          <p:cNvSpPr>
            <a:spLocks noGrp="1"/>
          </p:cNvSpPr>
          <p:nvPr>
            <p:ph type="body" sz="quarter" idx="12" hasCustomPrompt="1"/>
          </p:nvPr>
        </p:nvSpPr>
        <p:spPr>
          <a:xfrm>
            <a:off x="3851920" y="2819254"/>
            <a:ext cx="4968552" cy="246221"/>
          </a:xfrm>
        </p:spPr>
        <p:txBody>
          <a:bodyPr wrap="square" anchor="t">
            <a:spAutoFit/>
          </a:bodyPr>
          <a:lstStyle>
            <a:lvl1pPr marL="0" indent="0" algn="l">
              <a:lnSpc>
                <a:spcPct val="100000"/>
              </a:lnSpc>
              <a:buNone/>
              <a:defRPr sz="1280" baseline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lang="ja-JP" altLang="en-US"/>
              <a:t>会社名</a:t>
            </a:r>
            <a:endParaRPr lang="de-DE" altLang="ja-JP"/>
          </a:p>
        </p:txBody>
      </p:sp>
      <p:sp>
        <p:nvSpPr>
          <p:cNvPr id="11" name="テキスト プレースホルダー 42"/>
          <p:cNvSpPr>
            <a:spLocks noGrp="1"/>
          </p:cNvSpPr>
          <p:nvPr>
            <p:ph type="body" sz="quarter" idx="18" hasCustomPrompt="1"/>
          </p:nvPr>
        </p:nvSpPr>
        <p:spPr>
          <a:xfrm>
            <a:off x="467545" y="412177"/>
            <a:ext cx="2462649" cy="175692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208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/>
              <a:t>タイトル</a:t>
            </a:r>
          </a:p>
        </p:txBody>
      </p:sp>
      <p:sp>
        <p:nvSpPr>
          <p:cNvPr id="12" name="テキスト プレースホルダー 42"/>
          <p:cNvSpPr>
            <a:spLocks noGrp="1"/>
          </p:cNvSpPr>
          <p:nvPr>
            <p:ph type="body" sz="quarter" idx="20" hasCustomPrompt="1"/>
          </p:nvPr>
        </p:nvSpPr>
        <p:spPr>
          <a:xfrm>
            <a:off x="466911" y="2768026"/>
            <a:ext cx="2462650" cy="28119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80" baseline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/>
              <a:t>日時</a:t>
            </a:r>
          </a:p>
        </p:txBody>
      </p:sp>
      <p:sp>
        <p:nvSpPr>
          <p:cNvPr id="13" name="テキスト プレースホルダー 42"/>
          <p:cNvSpPr>
            <a:spLocks noGrp="1"/>
          </p:cNvSpPr>
          <p:nvPr>
            <p:ph type="body" sz="quarter" idx="21" hasCustomPrompt="1"/>
          </p:nvPr>
        </p:nvSpPr>
        <p:spPr>
          <a:xfrm>
            <a:off x="466911" y="2439424"/>
            <a:ext cx="2462650" cy="28119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80" baseline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/>
              <a:t>会場</a:t>
            </a:r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854511" y="3497164"/>
            <a:ext cx="4968552" cy="369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456914" rtl="0" eaLnBrk="1" fontAlgn="base" latinLnBrk="0" hangingPunct="1">
              <a:lnSpc>
                <a:spcPct val="100000"/>
              </a:lnSpc>
              <a:spcBef>
                <a:spcPts val="500"/>
              </a:spcBef>
              <a:spcAft>
                <a:spcPts val="200"/>
              </a:spcAft>
              <a:buClr>
                <a:srgbClr val="A30B1A"/>
              </a:buClr>
              <a:buFont typeface="Wingdings" pitchFamily="2" charset="2"/>
              <a:buNone/>
              <a:defRPr kumimoji="1" lang="en-US" altLang="ja-JP" sz="1920" b="0" kern="1200" baseline="0" noProof="0" dirty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1920">
                <a:solidFill>
                  <a:schemeClr val="tx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1920">
                <a:solidFill>
                  <a:schemeClr val="tx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192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1920">
                <a:solidFill>
                  <a:schemeClr val="tx1"/>
                </a:solidFill>
              </a:defRPr>
            </a:lvl5pPr>
            <a:lvl6pPr marL="22845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4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3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ja-JP" altLang="en-US"/>
              <a:t>プレゼンター氏名</a:t>
            </a:r>
            <a:endParaRPr lang="de-DE" altLang="ja-JP"/>
          </a:p>
        </p:txBody>
      </p:sp>
    </p:spTree>
    <p:extLst>
      <p:ext uri="{BB962C8B-B14F-4D97-AF65-F5344CB8AC3E}">
        <p14:creationId xmlns:p14="http://schemas.microsoft.com/office/powerpoint/2010/main" val="182634125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Chapter_Red_Symbolm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端までアスファルトじゃだめ？ サーキットにある「しましま」の縁石はなぜあるのか | AUTO MESSE WEB  ～カスタム・アウトドア・福祉車両・モータースポーツなどのカーライフ情報が満載～">
            <a:extLst>
              <a:ext uri="{FF2B5EF4-FFF2-40B4-BE49-F238E27FC236}">
                <a16:creationId xmlns:a16="http://schemas.microsoft.com/office/drawing/2014/main" id="{D902F9BB-2D85-475F-8096-21A4593CEF0F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grayscl/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025" t="1487" r="1025" b="15970"/>
          <a:stretch/>
        </p:blipFill>
        <p:spPr bwMode="auto">
          <a:xfrm>
            <a:off x="-95725" y="1"/>
            <a:ext cx="9335453" cy="5137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フッター プレースホルダー 3"/>
          <p:cNvSpPr>
            <a:spLocks noGrp="1"/>
          </p:cNvSpPr>
          <p:nvPr>
            <p:ph type="ftr" sz="quarter" idx="10"/>
          </p:nvPr>
        </p:nvSpPr>
        <p:spPr>
          <a:xfrm>
            <a:off x="4932363" y="4935604"/>
            <a:ext cx="3960812" cy="20155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altLang="ja-JP"/>
              <a:t>Copyright 2021 FUJITSU LIMITED</a:t>
            </a:r>
            <a:endParaRPr lang="de-DE" altLang="ja-JP"/>
          </a:p>
        </p:txBody>
      </p:sp>
      <p:pic>
        <p:nvPicPr>
          <p:cNvPr id="26" name="図 2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9" y="5654"/>
            <a:ext cx="3489075" cy="3783432"/>
          </a:xfrm>
          <a:prstGeom prst="rect">
            <a:avLst/>
          </a:prstGeom>
        </p:spPr>
      </p:pic>
      <p:sp>
        <p:nvSpPr>
          <p:cNvPr id="27" name="タイトル 1"/>
          <p:cNvSpPr>
            <a:spLocks noGrp="1"/>
          </p:cNvSpPr>
          <p:nvPr>
            <p:ph type="title" hasCustomPrompt="1"/>
          </p:nvPr>
        </p:nvSpPr>
        <p:spPr>
          <a:xfrm>
            <a:off x="467544" y="503208"/>
            <a:ext cx="2520282" cy="2428472"/>
          </a:xfrm>
        </p:spPr>
        <p:txBody>
          <a:bodyPr anchor="t"/>
          <a:lstStyle>
            <a:lvl1pPr algn="l"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 altLang="ja-JP"/>
              <a:t>Chapter Title</a:t>
            </a:r>
            <a:endParaRPr lang="ja-JP" altLang="en-US"/>
          </a:p>
        </p:txBody>
      </p:sp>
      <p:pic>
        <p:nvPicPr>
          <p:cNvPr id="29" name="図 2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7991" y="247968"/>
            <a:ext cx="1216206" cy="613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500555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ntent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フッター プレースホルダー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ja-JP"/>
              <a:t>Copyright 2021 FUJITSU LIMITED</a:t>
            </a:r>
            <a:endParaRPr lang="de-DE" altLang="ja-JP"/>
          </a:p>
        </p:txBody>
      </p:sp>
      <p:sp>
        <p:nvSpPr>
          <p:cNvPr id="14" name="スライド番号プレースホルダー 4"/>
          <p:cNvSpPr>
            <a:spLocks noGrp="1"/>
          </p:cNvSpPr>
          <p:nvPr>
            <p:ph type="sldNum" sz="quarter" idx="11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US" altLang="ja-JP" smtClean="0"/>
            </a:lvl1pPr>
          </a:lstStyle>
          <a:p>
            <a:pPr fontAlgn="base"/>
            <a:fld id="{0B5B02AC-72C7-48A8-B1FA-68CE81373FC9}" type="slidenum">
              <a:rPr lang="en-US" altLang="ja-JP" smtClean="0"/>
              <a:pPr fontAlgn="base"/>
              <a:t>‹#›</a:t>
            </a:fld>
            <a:endParaRPr lang="ja-JP" altLang="en-US"/>
          </a:p>
        </p:txBody>
      </p:sp>
      <p:sp>
        <p:nvSpPr>
          <p:cNvPr id="16" name="AutoShape 11"/>
          <p:cNvSpPr>
            <a:spLocks noChangeAspect="1" noChangeArrowheads="1" noTextEdit="1"/>
          </p:cNvSpPr>
          <p:nvPr userDrawn="1"/>
        </p:nvSpPr>
        <p:spPr bwMode="gray">
          <a:xfrm>
            <a:off x="7607300" y="114266"/>
            <a:ext cx="1417638" cy="7919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ja-JP" altLang="en-US" sz="1600"/>
          </a:p>
        </p:txBody>
      </p:sp>
      <p:sp>
        <p:nvSpPr>
          <p:cNvPr id="26" name="Rectangle 4"/>
          <p:cNvSpPr>
            <a:spLocks noGrp="1" noChangeArrowheads="1"/>
          </p:cNvSpPr>
          <p:nvPr>
            <p:ph type="title" hasCustomPrompt="1"/>
          </p:nvPr>
        </p:nvSpPr>
        <p:spPr bwMode="gray">
          <a:xfrm>
            <a:off x="252004" y="179946"/>
            <a:ext cx="7564437" cy="6252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1600"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lang="ja-JP" altLang="en-US"/>
              <a:t>タイトルを入力</a:t>
            </a:r>
          </a:p>
        </p:txBody>
      </p:sp>
      <p:grpSp>
        <p:nvGrpSpPr>
          <p:cNvPr id="27" name="グループ化 26"/>
          <p:cNvGrpSpPr/>
          <p:nvPr userDrawn="1"/>
        </p:nvGrpSpPr>
        <p:grpSpPr>
          <a:xfrm>
            <a:off x="8010525" y="249163"/>
            <a:ext cx="892176" cy="434841"/>
            <a:chOff x="8010525" y="249238"/>
            <a:chExt cx="892176" cy="434975"/>
          </a:xfrm>
        </p:grpSpPr>
        <p:sp>
          <p:nvSpPr>
            <p:cNvPr id="28" name="Freeform 13"/>
            <p:cNvSpPr>
              <a:spLocks/>
            </p:cNvSpPr>
            <p:nvPr userDrawn="1"/>
          </p:nvSpPr>
          <p:spPr bwMode="gray">
            <a:xfrm>
              <a:off x="8305800" y="249238"/>
              <a:ext cx="179388" cy="139700"/>
            </a:xfrm>
            <a:custGeom>
              <a:avLst/>
              <a:gdLst>
                <a:gd name="T0" fmla="*/ 961 w 2365"/>
                <a:gd name="T1" fmla="*/ 764 h 1825"/>
                <a:gd name="T2" fmla="*/ 599 w 2365"/>
                <a:gd name="T3" fmla="*/ 642 h 1825"/>
                <a:gd name="T4" fmla="*/ 1 w 2365"/>
                <a:gd name="T5" fmla="*/ 1235 h 1825"/>
                <a:gd name="T6" fmla="*/ 599 w 2365"/>
                <a:gd name="T7" fmla="*/ 1825 h 1825"/>
                <a:gd name="T8" fmla="*/ 1053 w 2365"/>
                <a:gd name="T9" fmla="*/ 1619 h 1825"/>
                <a:gd name="T10" fmla="*/ 1053 w 2365"/>
                <a:gd name="T11" fmla="*/ 1293 h 1825"/>
                <a:gd name="T12" fmla="*/ 771 w 2365"/>
                <a:gd name="T13" fmla="*/ 1568 h 1825"/>
                <a:gd name="T14" fmla="*/ 599 w 2365"/>
                <a:gd name="T15" fmla="*/ 1604 h 1825"/>
                <a:gd name="T16" fmla="*/ 225 w 2365"/>
                <a:gd name="T17" fmla="*/ 1235 h 1825"/>
                <a:gd name="T18" fmla="*/ 599 w 2365"/>
                <a:gd name="T19" fmla="*/ 863 h 1825"/>
                <a:gd name="T20" fmla="*/ 861 w 2365"/>
                <a:gd name="T21" fmla="*/ 972 h 1825"/>
                <a:gd name="T22" fmla="*/ 1093 w 2365"/>
                <a:gd name="T23" fmla="*/ 1239 h 1825"/>
                <a:gd name="T24" fmla="*/ 1630 w 2365"/>
                <a:gd name="T25" fmla="*/ 1473 h 1825"/>
                <a:gd name="T26" fmla="*/ 2365 w 2365"/>
                <a:gd name="T27" fmla="*/ 741 h 1825"/>
                <a:gd name="T28" fmla="*/ 1630 w 2365"/>
                <a:gd name="T29" fmla="*/ 0 h 1825"/>
                <a:gd name="T30" fmla="*/ 1053 w 2365"/>
                <a:gd name="T31" fmla="*/ 295 h 1825"/>
                <a:gd name="T32" fmla="*/ 1053 w 2365"/>
                <a:gd name="T33" fmla="*/ 735 h 1825"/>
                <a:gd name="T34" fmla="*/ 1630 w 2365"/>
                <a:gd name="T35" fmla="*/ 232 h 1825"/>
                <a:gd name="T36" fmla="*/ 2134 w 2365"/>
                <a:gd name="T37" fmla="*/ 741 h 1825"/>
                <a:gd name="T38" fmla="*/ 1630 w 2365"/>
                <a:gd name="T39" fmla="*/ 1245 h 1825"/>
                <a:gd name="T40" fmla="*/ 1303 w 2365"/>
                <a:gd name="T41" fmla="*/ 1125 h 1825"/>
                <a:gd name="T42" fmla="*/ 961 w 2365"/>
                <a:gd name="T43" fmla="*/ 764 h 18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65" h="1825">
                  <a:moveTo>
                    <a:pt x="961" y="764"/>
                  </a:moveTo>
                  <a:cubicBezTo>
                    <a:pt x="875" y="688"/>
                    <a:pt x="736" y="643"/>
                    <a:pt x="599" y="642"/>
                  </a:cubicBezTo>
                  <a:cubicBezTo>
                    <a:pt x="270" y="641"/>
                    <a:pt x="2" y="900"/>
                    <a:pt x="1" y="1235"/>
                  </a:cubicBezTo>
                  <a:cubicBezTo>
                    <a:pt x="0" y="1563"/>
                    <a:pt x="270" y="1824"/>
                    <a:pt x="599" y="1825"/>
                  </a:cubicBezTo>
                  <a:cubicBezTo>
                    <a:pt x="783" y="1825"/>
                    <a:pt x="943" y="1751"/>
                    <a:pt x="1053" y="1619"/>
                  </a:cubicBezTo>
                  <a:cubicBezTo>
                    <a:pt x="1053" y="1293"/>
                    <a:pt x="1053" y="1293"/>
                    <a:pt x="1053" y="1293"/>
                  </a:cubicBezTo>
                  <a:cubicBezTo>
                    <a:pt x="994" y="1394"/>
                    <a:pt x="877" y="1524"/>
                    <a:pt x="771" y="1568"/>
                  </a:cubicBezTo>
                  <a:cubicBezTo>
                    <a:pt x="717" y="1590"/>
                    <a:pt x="662" y="1604"/>
                    <a:pt x="599" y="1604"/>
                  </a:cubicBezTo>
                  <a:cubicBezTo>
                    <a:pt x="394" y="1604"/>
                    <a:pt x="225" y="1445"/>
                    <a:pt x="225" y="1235"/>
                  </a:cubicBezTo>
                  <a:cubicBezTo>
                    <a:pt x="225" y="1041"/>
                    <a:pt x="380" y="862"/>
                    <a:pt x="599" y="863"/>
                  </a:cubicBezTo>
                  <a:cubicBezTo>
                    <a:pt x="701" y="863"/>
                    <a:pt x="793" y="905"/>
                    <a:pt x="861" y="972"/>
                  </a:cubicBezTo>
                  <a:cubicBezTo>
                    <a:pt x="931" y="1040"/>
                    <a:pt x="1041" y="1183"/>
                    <a:pt x="1093" y="1239"/>
                  </a:cubicBezTo>
                  <a:cubicBezTo>
                    <a:pt x="1227" y="1383"/>
                    <a:pt x="1419" y="1473"/>
                    <a:pt x="1630" y="1473"/>
                  </a:cubicBezTo>
                  <a:cubicBezTo>
                    <a:pt x="2036" y="1474"/>
                    <a:pt x="2365" y="1146"/>
                    <a:pt x="2365" y="741"/>
                  </a:cubicBezTo>
                  <a:cubicBezTo>
                    <a:pt x="2365" y="336"/>
                    <a:pt x="2035" y="0"/>
                    <a:pt x="1630" y="0"/>
                  </a:cubicBezTo>
                  <a:cubicBezTo>
                    <a:pt x="1395" y="0"/>
                    <a:pt x="1187" y="122"/>
                    <a:pt x="1053" y="295"/>
                  </a:cubicBezTo>
                  <a:cubicBezTo>
                    <a:pt x="1053" y="735"/>
                    <a:pt x="1053" y="735"/>
                    <a:pt x="1053" y="735"/>
                  </a:cubicBezTo>
                  <a:cubicBezTo>
                    <a:pt x="1155" y="455"/>
                    <a:pt x="1340" y="232"/>
                    <a:pt x="1630" y="232"/>
                  </a:cubicBezTo>
                  <a:cubicBezTo>
                    <a:pt x="1909" y="232"/>
                    <a:pt x="2135" y="463"/>
                    <a:pt x="2134" y="741"/>
                  </a:cubicBezTo>
                  <a:cubicBezTo>
                    <a:pt x="2134" y="1020"/>
                    <a:pt x="1909" y="1246"/>
                    <a:pt x="1630" y="1245"/>
                  </a:cubicBezTo>
                  <a:cubicBezTo>
                    <a:pt x="1506" y="1244"/>
                    <a:pt x="1391" y="1199"/>
                    <a:pt x="1303" y="1125"/>
                  </a:cubicBezTo>
                  <a:cubicBezTo>
                    <a:pt x="1194" y="1040"/>
                    <a:pt x="1074" y="860"/>
                    <a:pt x="961" y="764"/>
                  </a:cubicBezTo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 sz="1600"/>
            </a:p>
          </p:txBody>
        </p:sp>
        <p:sp>
          <p:nvSpPr>
            <p:cNvPr id="29" name="Freeform 14"/>
            <p:cNvSpPr>
              <a:spLocks/>
            </p:cNvSpPr>
            <p:nvPr userDrawn="1"/>
          </p:nvSpPr>
          <p:spPr bwMode="gray">
            <a:xfrm>
              <a:off x="8010525" y="401638"/>
              <a:ext cx="123825" cy="201613"/>
            </a:xfrm>
            <a:custGeom>
              <a:avLst/>
              <a:gdLst>
                <a:gd name="T0" fmla="*/ 0 w 1624"/>
                <a:gd name="T1" fmla="*/ 0 h 2651"/>
                <a:gd name="T2" fmla="*/ 1624 w 1624"/>
                <a:gd name="T3" fmla="*/ 0 h 2651"/>
                <a:gd name="T4" fmla="*/ 1624 w 1624"/>
                <a:gd name="T5" fmla="*/ 452 h 2651"/>
                <a:gd name="T6" fmla="*/ 1365 w 1624"/>
                <a:gd name="T7" fmla="*/ 273 h 2651"/>
                <a:gd name="T8" fmla="*/ 613 w 1624"/>
                <a:gd name="T9" fmla="*/ 273 h 2651"/>
                <a:gd name="T10" fmla="*/ 613 w 1624"/>
                <a:gd name="T11" fmla="*/ 1053 h 2651"/>
                <a:gd name="T12" fmla="*/ 1428 w 1624"/>
                <a:gd name="T13" fmla="*/ 1053 h 2651"/>
                <a:gd name="T14" fmla="*/ 1428 w 1624"/>
                <a:gd name="T15" fmla="*/ 1467 h 2651"/>
                <a:gd name="T16" fmla="*/ 1205 w 1624"/>
                <a:gd name="T17" fmla="*/ 1335 h 2651"/>
                <a:gd name="T18" fmla="*/ 613 w 1624"/>
                <a:gd name="T19" fmla="*/ 1335 h 2651"/>
                <a:gd name="T20" fmla="*/ 613 w 1624"/>
                <a:gd name="T21" fmla="*/ 2401 h 2651"/>
                <a:gd name="T22" fmla="*/ 784 w 1624"/>
                <a:gd name="T23" fmla="*/ 2651 h 2651"/>
                <a:gd name="T24" fmla="*/ 11 w 1624"/>
                <a:gd name="T25" fmla="*/ 2651 h 2651"/>
                <a:gd name="T26" fmla="*/ 173 w 1624"/>
                <a:gd name="T27" fmla="*/ 2401 h 2651"/>
                <a:gd name="T28" fmla="*/ 173 w 1624"/>
                <a:gd name="T29" fmla="*/ 278 h 2651"/>
                <a:gd name="T30" fmla="*/ 0 w 1624"/>
                <a:gd name="T31" fmla="*/ 0 h 2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624" h="2651">
                  <a:moveTo>
                    <a:pt x="0" y="0"/>
                  </a:moveTo>
                  <a:cubicBezTo>
                    <a:pt x="1624" y="0"/>
                    <a:pt x="1624" y="0"/>
                    <a:pt x="1624" y="0"/>
                  </a:cubicBezTo>
                  <a:cubicBezTo>
                    <a:pt x="1624" y="452"/>
                    <a:pt x="1624" y="452"/>
                    <a:pt x="1624" y="452"/>
                  </a:cubicBezTo>
                  <a:cubicBezTo>
                    <a:pt x="1624" y="452"/>
                    <a:pt x="1540" y="274"/>
                    <a:pt x="1365" y="273"/>
                  </a:cubicBezTo>
                  <a:cubicBezTo>
                    <a:pt x="613" y="273"/>
                    <a:pt x="613" y="273"/>
                    <a:pt x="613" y="273"/>
                  </a:cubicBezTo>
                  <a:cubicBezTo>
                    <a:pt x="613" y="1053"/>
                    <a:pt x="613" y="1053"/>
                    <a:pt x="613" y="1053"/>
                  </a:cubicBezTo>
                  <a:cubicBezTo>
                    <a:pt x="1428" y="1053"/>
                    <a:pt x="1428" y="1053"/>
                    <a:pt x="1428" y="1053"/>
                  </a:cubicBezTo>
                  <a:cubicBezTo>
                    <a:pt x="1428" y="1467"/>
                    <a:pt x="1428" y="1467"/>
                    <a:pt x="1428" y="1467"/>
                  </a:cubicBezTo>
                  <a:cubicBezTo>
                    <a:pt x="1428" y="1467"/>
                    <a:pt x="1402" y="1335"/>
                    <a:pt x="1205" y="1335"/>
                  </a:cubicBezTo>
                  <a:cubicBezTo>
                    <a:pt x="613" y="1335"/>
                    <a:pt x="613" y="1335"/>
                    <a:pt x="613" y="1335"/>
                  </a:cubicBezTo>
                  <a:cubicBezTo>
                    <a:pt x="613" y="2401"/>
                    <a:pt x="613" y="2401"/>
                    <a:pt x="613" y="2401"/>
                  </a:cubicBezTo>
                  <a:cubicBezTo>
                    <a:pt x="613" y="2558"/>
                    <a:pt x="784" y="2651"/>
                    <a:pt x="784" y="2651"/>
                  </a:cubicBezTo>
                  <a:cubicBezTo>
                    <a:pt x="11" y="2651"/>
                    <a:pt x="11" y="2651"/>
                    <a:pt x="11" y="2651"/>
                  </a:cubicBezTo>
                  <a:cubicBezTo>
                    <a:pt x="11" y="2651"/>
                    <a:pt x="173" y="2569"/>
                    <a:pt x="173" y="2401"/>
                  </a:cubicBezTo>
                  <a:cubicBezTo>
                    <a:pt x="173" y="278"/>
                    <a:pt x="173" y="278"/>
                    <a:pt x="173" y="278"/>
                  </a:cubicBezTo>
                  <a:cubicBezTo>
                    <a:pt x="173" y="9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 sz="1600"/>
            </a:p>
          </p:txBody>
        </p:sp>
        <p:sp>
          <p:nvSpPr>
            <p:cNvPr id="30" name="Freeform 15"/>
            <p:cNvSpPr>
              <a:spLocks/>
            </p:cNvSpPr>
            <p:nvPr userDrawn="1"/>
          </p:nvSpPr>
          <p:spPr bwMode="gray">
            <a:xfrm>
              <a:off x="8304213" y="401638"/>
              <a:ext cx="80963" cy="282575"/>
            </a:xfrm>
            <a:custGeom>
              <a:avLst/>
              <a:gdLst>
                <a:gd name="T0" fmla="*/ 246 w 1072"/>
                <a:gd name="T1" fmla="*/ 0 h 3696"/>
                <a:gd name="T2" fmla="*/ 1072 w 1072"/>
                <a:gd name="T3" fmla="*/ 0 h 3696"/>
                <a:gd name="T4" fmla="*/ 887 w 1072"/>
                <a:gd name="T5" fmla="*/ 230 h 3696"/>
                <a:gd name="T6" fmla="*/ 887 w 1072"/>
                <a:gd name="T7" fmla="*/ 2717 h 3696"/>
                <a:gd name="T8" fmla="*/ 0 w 1072"/>
                <a:gd name="T9" fmla="*/ 3693 h 3696"/>
                <a:gd name="T10" fmla="*/ 423 w 1072"/>
                <a:gd name="T11" fmla="*/ 2717 h 3696"/>
                <a:gd name="T12" fmla="*/ 423 w 1072"/>
                <a:gd name="T13" fmla="*/ 230 h 3696"/>
                <a:gd name="T14" fmla="*/ 246 w 1072"/>
                <a:gd name="T15" fmla="*/ 0 h 36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72" h="3696">
                  <a:moveTo>
                    <a:pt x="246" y="0"/>
                  </a:moveTo>
                  <a:cubicBezTo>
                    <a:pt x="1072" y="0"/>
                    <a:pt x="1072" y="0"/>
                    <a:pt x="1072" y="0"/>
                  </a:cubicBezTo>
                  <a:cubicBezTo>
                    <a:pt x="1072" y="0"/>
                    <a:pt x="887" y="87"/>
                    <a:pt x="887" y="230"/>
                  </a:cubicBezTo>
                  <a:cubicBezTo>
                    <a:pt x="887" y="2717"/>
                    <a:pt x="887" y="2717"/>
                    <a:pt x="887" y="2717"/>
                  </a:cubicBezTo>
                  <a:cubicBezTo>
                    <a:pt x="887" y="3558"/>
                    <a:pt x="44" y="3696"/>
                    <a:pt x="0" y="3693"/>
                  </a:cubicBezTo>
                  <a:cubicBezTo>
                    <a:pt x="72" y="3647"/>
                    <a:pt x="422" y="3349"/>
                    <a:pt x="423" y="2717"/>
                  </a:cubicBezTo>
                  <a:cubicBezTo>
                    <a:pt x="423" y="230"/>
                    <a:pt x="423" y="230"/>
                    <a:pt x="423" y="230"/>
                  </a:cubicBezTo>
                  <a:cubicBezTo>
                    <a:pt x="424" y="96"/>
                    <a:pt x="246" y="0"/>
                    <a:pt x="246" y="0"/>
                  </a:cubicBez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 sz="1600"/>
            </a:p>
          </p:txBody>
        </p:sp>
        <p:sp>
          <p:nvSpPr>
            <p:cNvPr id="31" name="Freeform 16"/>
            <p:cNvSpPr>
              <a:spLocks/>
            </p:cNvSpPr>
            <p:nvPr userDrawn="1"/>
          </p:nvSpPr>
          <p:spPr bwMode="gray">
            <a:xfrm>
              <a:off x="8394700" y="401638"/>
              <a:ext cx="63500" cy="201613"/>
            </a:xfrm>
            <a:custGeom>
              <a:avLst/>
              <a:gdLst>
                <a:gd name="T0" fmla="*/ 0 w 828"/>
                <a:gd name="T1" fmla="*/ 0 h 2653"/>
                <a:gd name="T2" fmla="*/ 828 w 828"/>
                <a:gd name="T3" fmla="*/ 0 h 2653"/>
                <a:gd name="T4" fmla="*/ 645 w 828"/>
                <a:gd name="T5" fmla="*/ 235 h 2653"/>
                <a:gd name="T6" fmla="*/ 645 w 828"/>
                <a:gd name="T7" fmla="*/ 2401 h 2653"/>
                <a:gd name="T8" fmla="*/ 828 w 828"/>
                <a:gd name="T9" fmla="*/ 2653 h 2653"/>
                <a:gd name="T10" fmla="*/ 0 w 828"/>
                <a:gd name="T11" fmla="*/ 2653 h 2653"/>
                <a:gd name="T12" fmla="*/ 184 w 828"/>
                <a:gd name="T13" fmla="*/ 2401 h 2653"/>
                <a:gd name="T14" fmla="*/ 184 w 828"/>
                <a:gd name="T15" fmla="*/ 235 h 2653"/>
                <a:gd name="T16" fmla="*/ 0 w 828"/>
                <a:gd name="T17" fmla="*/ 0 h 26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28" h="2653">
                  <a:moveTo>
                    <a:pt x="0" y="0"/>
                  </a:moveTo>
                  <a:cubicBezTo>
                    <a:pt x="828" y="0"/>
                    <a:pt x="828" y="0"/>
                    <a:pt x="828" y="0"/>
                  </a:cubicBezTo>
                  <a:cubicBezTo>
                    <a:pt x="828" y="0"/>
                    <a:pt x="645" y="89"/>
                    <a:pt x="645" y="235"/>
                  </a:cubicBezTo>
                  <a:cubicBezTo>
                    <a:pt x="645" y="2401"/>
                    <a:pt x="645" y="2401"/>
                    <a:pt x="645" y="2401"/>
                  </a:cubicBezTo>
                  <a:cubicBezTo>
                    <a:pt x="645" y="2556"/>
                    <a:pt x="828" y="2653"/>
                    <a:pt x="828" y="2653"/>
                  </a:cubicBezTo>
                  <a:cubicBezTo>
                    <a:pt x="0" y="2653"/>
                    <a:pt x="0" y="2653"/>
                    <a:pt x="0" y="2653"/>
                  </a:cubicBezTo>
                  <a:cubicBezTo>
                    <a:pt x="0" y="2653"/>
                    <a:pt x="184" y="2557"/>
                    <a:pt x="184" y="2401"/>
                  </a:cubicBezTo>
                  <a:cubicBezTo>
                    <a:pt x="184" y="235"/>
                    <a:pt x="184" y="235"/>
                    <a:pt x="184" y="235"/>
                  </a:cubicBezTo>
                  <a:cubicBezTo>
                    <a:pt x="184" y="8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 sz="1600"/>
            </a:p>
          </p:txBody>
        </p:sp>
        <p:sp>
          <p:nvSpPr>
            <p:cNvPr id="32" name="Freeform 17"/>
            <p:cNvSpPr>
              <a:spLocks/>
            </p:cNvSpPr>
            <p:nvPr userDrawn="1"/>
          </p:nvSpPr>
          <p:spPr bwMode="gray">
            <a:xfrm>
              <a:off x="8458200" y="401638"/>
              <a:ext cx="150813" cy="201613"/>
            </a:xfrm>
            <a:custGeom>
              <a:avLst/>
              <a:gdLst>
                <a:gd name="T0" fmla="*/ 161 w 1984"/>
                <a:gd name="T1" fmla="*/ 0 h 2651"/>
                <a:gd name="T2" fmla="*/ 1984 w 1984"/>
                <a:gd name="T3" fmla="*/ 0 h 2651"/>
                <a:gd name="T4" fmla="*/ 1829 w 1984"/>
                <a:gd name="T5" fmla="*/ 482 h 2651"/>
                <a:gd name="T6" fmla="*/ 1607 w 1984"/>
                <a:gd name="T7" fmla="*/ 279 h 2651"/>
                <a:gd name="T8" fmla="*/ 1229 w 1984"/>
                <a:gd name="T9" fmla="*/ 279 h 2651"/>
                <a:gd name="T10" fmla="*/ 1229 w 1984"/>
                <a:gd name="T11" fmla="*/ 2401 h 2651"/>
                <a:gd name="T12" fmla="*/ 1407 w 1984"/>
                <a:gd name="T13" fmla="*/ 2651 h 2651"/>
                <a:gd name="T14" fmla="*/ 595 w 1984"/>
                <a:gd name="T15" fmla="*/ 2651 h 2651"/>
                <a:gd name="T16" fmla="*/ 771 w 1984"/>
                <a:gd name="T17" fmla="*/ 2401 h 2651"/>
                <a:gd name="T18" fmla="*/ 771 w 1984"/>
                <a:gd name="T19" fmla="*/ 279 h 2651"/>
                <a:gd name="T20" fmla="*/ 315 w 1984"/>
                <a:gd name="T21" fmla="*/ 279 h 2651"/>
                <a:gd name="T22" fmla="*/ 0 w 1984"/>
                <a:gd name="T23" fmla="*/ 522 h 2651"/>
                <a:gd name="T24" fmla="*/ 161 w 1984"/>
                <a:gd name="T25" fmla="*/ 0 h 2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84" h="2651">
                  <a:moveTo>
                    <a:pt x="161" y="0"/>
                  </a:moveTo>
                  <a:cubicBezTo>
                    <a:pt x="1984" y="0"/>
                    <a:pt x="1984" y="0"/>
                    <a:pt x="1984" y="0"/>
                  </a:cubicBezTo>
                  <a:cubicBezTo>
                    <a:pt x="1829" y="482"/>
                    <a:pt x="1829" y="482"/>
                    <a:pt x="1829" y="482"/>
                  </a:cubicBezTo>
                  <a:cubicBezTo>
                    <a:pt x="1829" y="482"/>
                    <a:pt x="1783" y="279"/>
                    <a:pt x="1607" y="279"/>
                  </a:cubicBezTo>
                  <a:cubicBezTo>
                    <a:pt x="1229" y="279"/>
                    <a:pt x="1229" y="279"/>
                    <a:pt x="1229" y="279"/>
                  </a:cubicBezTo>
                  <a:cubicBezTo>
                    <a:pt x="1229" y="2401"/>
                    <a:pt x="1229" y="2401"/>
                    <a:pt x="1229" y="2401"/>
                  </a:cubicBezTo>
                  <a:cubicBezTo>
                    <a:pt x="1229" y="2535"/>
                    <a:pt x="1407" y="2651"/>
                    <a:pt x="1407" y="2651"/>
                  </a:cubicBezTo>
                  <a:cubicBezTo>
                    <a:pt x="595" y="2651"/>
                    <a:pt x="595" y="2651"/>
                    <a:pt x="595" y="2651"/>
                  </a:cubicBezTo>
                  <a:cubicBezTo>
                    <a:pt x="595" y="2651"/>
                    <a:pt x="771" y="2547"/>
                    <a:pt x="771" y="2401"/>
                  </a:cubicBezTo>
                  <a:cubicBezTo>
                    <a:pt x="771" y="279"/>
                    <a:pt x="771" y="279"/>
                    <a:pt x="771" y="279"/>
                  </a:cubicBezTo>
                  <a:cubicBezTo>
                    <a:pt x="315" y="279"/>
                    <a:pt x="315" y="279"/>
                    <a:pt x="315" y="279"/>
                  </a:cubicBezTo>
                  <a:cubicBezTo>
                    <a:pt x="185" y="280"/>
                    <a:pt x="0" y="522"/>
                    <a:pt x="0" y="522"/>
                  </a:cubicBezTo>
                  <a:lnTo>
                    <a:pt x="161" y="0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 sz="1600"/>
            </a:p>
          </p:txBody>
        </p:sp>
        <p:sp>
          <p:nvSpPr>
            <p:cNvPr id="33" name="Freeform 18"/>
            <p:cNvSpPr>
              <a:spLocks/>
            </p:cNvSpPr>
            <p:nvPr userDrawn="1"/>
          </p:nvSpPr>
          <p:spPr bwMode="gray">
            <a:xfrm>
              <a:off x="8732838" y="401638"/>
              <a:ext cx="169863" cy="204788"/>
            </a:xfrm>
            <a:custGeom>
              <a:avLst/>
              <a:gdLst>
                <a:gd name="T0" fmla="*/ 1420 w 2219"/>
                <a:gd name="T1" fmla="*/ 0 h 2693"/>
                <a:gd name="T2" fmla="*/ 2219 w 2219"/>
                <a:gd name="T3" fmla="*/ 0 h 2693"/>
                <a:gd name="T4" fmla="*/ 2048 w 2219"/>
                <a:gd name="T5" fmla="*/ 234 h 2693"/>
                <a:gd name="T6" fmla="*/ 2048 w 2219"/>
                <a:gd name="T7" fmla="*/ 1840 h 2693"/>
                <a:gd name="T8" fmla="*/ 1131 w 2219"/>
                <a:gd name="T9" fmla="*/ 2693 h 2693"/>
                <a:gd name="T10" fmla="*/ 176 w 2219"/>
                <a:gd name="T11" fmla="*/ 1840 h 2693"/>
                <a:gd name="T12" fmla="*/ 176 w 2219"/>
                <a:gd name="T13" fmla="*/ 234 h 2693"/>
                <a:gd name="T14" fmla="*/ 0 w 2219"/>
                <a:gd name="T15" fmla="*/ 0 h 2693"/>
                <a:gd name="T16" fmla="*/ 821 w 2219"/>
                <a:gd name="T17" fmla="*/ 0 h 2693"/>
                <a:gd name="T18" fmla="*/ 638 w 2219"/>
                <a:gd name="T19" fmla="*/ 234 h 2693"/>
                <a:gd name="T20" fmla="*/ 638 w 2219"/>
                <a:gd name="T21" fmla="*/ 1840 h 2693"/>
                <a:gd name="T22" fmla="*/ 1131 w 2219"/>
                <a:gd name="T23" fmla="*/ 2406 h 2693"/>
                <a:gd name="T24" fmla="*/ 1601 w 2219"/>
                <a:gd name="T25" fmla="*/ 1840 h 2693"/>
                <a:gd name="T26" fmla="*/ 1601 w 2219"/>
                <a:gd name="T27" fmla="*/ 234 h 2693"/>
                <a:gd name="T28" fmla="*/ 1420 w 2219"/>
                <a:gd name="T29" fmla="*/ 0 h 26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219" h="2693">
                  <a:moveTo>
                    <a:pt x="1420" y="0"/>
                  </a:moveTo>
                  <a:cubicBezTo>
                    <a:pt x="2219" y="0"/>
                    <a:pt x="2219" y="0"/>
                    <a:pt x="2219" y="0"/>
                  </a:cubicBezTo>
                  <a:cubicBezTo>
                    <a:pt x="2219" y="0"/>
                    <a:pt x="2048" y="91"/>
                    <a:pt x="2048" y="234"/>
                  </a:cubicBezTo>
                  <a:cubicBezTo>
                    <a:pt x="2048" y="1840"/>
                    <a:pt x="2048" y="1840"/>
                    <a:pt x="2048" y="1840"/>
                  </a:cubicBezTo>
                  <a:cubicBezTo>
                    <a:pt x="2047" y="2492"/>
                    <a:pt x="1506" y="2693"/>
                    <a:pt x="1131" y="2693"/>
                  </a:cubicBezTo>
                  <a:cubicBezTo>
                    <a:pt x="759" y="2693"/>
                    <a:pt x="175" y="2490"/>
                    <a:pt x="176" y="1840"/>
                  </a:cubicBezTo>
                  <a:cubicBezTo>
                    <a:pt x="176" y="234"/>
                    <a:pt x="176" y="234"/>
                    <a:pt x="176" y="234"/>
                  </a:cubicBezTo>
                  <a:cubicBezTo>
                    <a:pt x="176" y="91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8" y="88"/>
                    <a:pt x="638" y="234"/>
                  </a:cubicBezTo>
                  <a:cubicBezTo>
                    <a:pt x="638" y="1840"/>
                    <a:pt x="638" y="1840"/>
                    <a:pt x="638" y="1840"/>
                  </a:cubicBezTo>
                  <a:cubicBezTo>
                    <a:pt x="638" y="2182"/>
                    <a:pt x="865" y="2406"/>
                    <a:pt x="1131" y="2406"/>
                  </a:cubicBezTo>
                  <a:cubicBezTo>
                    <a:pt x="1397" y="2406"/>
                    <a:pt x="1600" y="2173"/>
                    <a:pt x="1601" y="1840"/>
                  </a:cubicBezTo>
                  <a:cubicBezTo>
                    <a:pt x="1601" y="234"/>
                    <a:pt x="1601" y="234"/>
                    <a:pt x="1601" y="234"/>
                  </a:cubicBezTo>
                  <a:cubicBezTo>
                    <a:pt x="1601" y="91"/>
                    <a:pt x="1420" y="0"/>
                    <a:pt x="1420" y="0"/>
                  </a:cubicBez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 sz="1600"/>
            </a:p>
          </p:txBody>
        </p:sp>
        <p:sp>
          <p:nvSpPr>
            <p:cNvPr id="34" name="Freeform 19"/>
            <p:cNvSpPr>
              <a:spLocks/>
            </p:cNvSpPr>
            <p:nvPr userDrawn="1"/>
          </p:nvSpPr>
          <p:spPr bwMode="gray">
            <a:xfrm>
              <a:off x="8140700" y="401638"/>
              <a:ext cx="169863" cy="206375"/>
            </a:xfrm>
            <a:custGeom>
              <a:avLst/>
              <a:gdLst>
                <a:gd name="T0" fmla="*/ 1427 w 2240"/>
                <a:gd name="T1" fmla="*/ 0 h 2700"/>
                <a:gd name="T2" fmla="*/ 2240 w 2240"/>
                <a:gd name="T3" fmla="*/ 0 h 2700"/>
                <a:gd name="T4" fmla="*/ 2068 w 2240"/>
                <a:gd name="T5" fmla="*/ 237 h 2700"/>
                <a:gd name="T6" fmla="*/ 2067 w 2240"/>
                <a:gd name="T7" fmla="*/ 1838 h 2700"/>
                <a:gd name="T8" fmla="*/ 1122 w 2240"/>
                <a:gd name="T9" fmla="*/ 2700 h 2700"/>
                <a:gd name="T10" fmla="*/ 166 w 2240"/>
                <a:gd name="T11" fmla="*/ 1838 h 2700"/>
                <a:gd name="T12" fmla="*/ 166 w 2240"/>
                <a:gd name="T13" fmla="*/ 237 h 2700"/>
                <a:gd name="T14" fmla="*/ 0 w 2240"/>
                <a:gd name="T15" fmla="*/ 0 h 2700"/>
                <a:gd name="T16" fmla="*/ 821 w 2240"/>
                <a:gd name="T17" fmla="*/ 0 h 2700"/>
                <a:gd name="T18" fmla="*/ 631 w 2240"/>
                <a:gd name="T19" fmla="*/ 237 h 2700"/>
                <a:gd name="T20" fmla="*/ 630 w 2240"/>
                <a:gd name="T21" fmla="*/ 1838 h 2700"/>
                <a:gd name="T22" fmla="*/ 1122 w 2240"/>
                <a:gd name="T23" fmla="*/ 2413 h 2700"/>
                <a:gd name="T24" fmla="*/ 1602 w 2240"/>
                <a:gd name="T25" fmla="*/ 1838 h 2700"/>
                <a:gd name="T26" fmla="*/ 1603 w 2240"/>
                <a:gd name="T27" fmla="*/ 237 h 2700"/>
                <a:gd name="T28" fmla="*/ 1427 w 2240"/>
                <a:gd name="T29" fmla="*/ 0 h 27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240" h="2700">
                  <a:moveTo>
                    <a:pt x="1427" y="0"/>
                  </a:moveTo>
                  <a:cubicBezTo>
                    <a:pt x="2240" y="0"/>
                    <a:pt x="2240" y="0"/>
                    <a:pt x="2240" y="0"/>
                  </a:cubicBezTo>
                  <a:cubicBezTo>
                    <a:pt x="2240" y="0"/>
                    <a:pt x="2068" y="95"/>
                    <a:pt x="2068" y="237"/>
                  </a:cubicBezTo>
                  <a:cubicBezTo>
                    <a:pt x="2068" y="238"/>
                    <a:pt x="2067" y="1838"/>
                    <a:pt x="2067" y="1838"/>
                  </a:cubicBezTo>
                  <a:cubicBezTo>
                    <a:pt x="2067" y="2494"/>
                    <a:pt x="1501" y="2700"/>
                    <a:pt x="1122" y="2700"/>
                  </a:cubicBezTo>
                  <a:cubicBezTo>
                    <a:pt x="750" y="2700"/>
                    <a:pt x="166" y="2491"/>
                    <a:pt x="166" y="1838"/>
                  </a:cubicBezTo>
                  <a:cubicBezTo>
                    <a:pt x="166" y="237"/>
                    <a:pt x="166" y="237"/>
                    <a:pt x="166" y="237"/>
                  </a:cubicBezTo>
                  <a:cubicBezTo>
                    <a:pt x="166" y="94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1" y="94"/>
                    <a:pt x="631" y="237"/>
                  </a:cubicBezTo>
                  <a:cubicBezTo>
                    <a:pt x="630" y="1838"/>
                    <a:pt x="630" y="1838"/>
                    <a:pt x="630" y="1838"/>
                  </a:cubicBezTo>
                  <a:cubicBezTo>
                    <a:pt x="630" y="2178"/>
                    <a:pt x="856" y="2412"/>
                    <a:pt x="1122" y="2413"/>
                  </a:cubicBezTo>
                  <a:cubicBezTo>
                    <a:pt x="1388" y="2414"/>
                    <a:pt x="1602" y="2174"/>
                    <a:pt x="1602" y="1838"/>
                  </a:cubicBezTo>
                  <a:cubicBezTo>
                    <a:pt x="1603" y="237"/>
                    <a:pt x="1603" y="237"/>
                    <a:pt x="1603" y="237"/>
                  </a:cubicBezTo>
                  <a:cubicBezTo>
                    <a:pt x="1603" y="94"/>
                    <a:pt x="1427" y="0"/>
                    <a:pt x="1427" y="0"/>
                  </a:cubicBez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 sz="1600"/>
            </a:p>
          </p:txBody>
        </p:sp>
        <p:sp>
          <p:nvSpPr>
            <p:cNvPr id="35" name="Freeform 20"/>
            <p:cNvSpPr>
              <a:spLocks/>
            </p:cNvSpPr>
            <p:nvPr userDrawn="1"/>
          </p:nvSpPr>
          <p:spPr bwMode="gray">
            <a:xfrm>
              <a:off x="8602663" y="396875"/>
              <a:ext cx="130175" cy="211138"/>
            </a:xfrm>
            <a:custGeom>
              <a:avLst/>
              <a:gdLst>
                <a:gd name="T0" fmla="*/ 1467 w 1707"/>
                <a:gd name="T1" fmla="*/ 479 h 2755"/>
                <a:gd name="T2" fmla="*/ 1019 w 1707"/>
                <a:gd name="T3" fmla="*/ 276 h 2755"/>
                <a:gd name="T4" fmla="*/ 504 w 1707"/>
                <a:gd name="T5" fmla="*/ 677 h 2755"/>
                <a:gd name="T6" fmla="*/ 995 w 1707"/>
                <a:gd name="T7" fmla="*/ 1174 h 2755"/>
                <a:gd name="T8" fmla="*/ 1705 w 1707"/>
                <a:gd name="T9" fmla="*/ 1974 h 2755"/>
                <a:gd name="T10" fmla="*/ 651 w 1707"/>
                <a:gd name="T11" fmla="*/ 2755 h 2755"/>
                <a:gd name="T12" fmla="*/ 155 w 1707"/>
                <a:gd name="T13" fmla="*/ 2686 h 2755"/>
                <a:gd name="T14" fmla="*/ 0 w 1707"/>
                <a:gd name="T15" fmla="*/ 2177 h 2755"/>
                <a:gd name="T16" fmla="*/ 658 w 1707"/>
                <a:gd name="T17" fmla="*/ 2466 h 2755"/>
                <a:gd name="T18" fmla="*/ 1252 w 1707"/>
                <a:gd name="T19" fmla="*/ 2030 h 2755"/>
                <a:gd name="T20" fmla="*/ 46 w 1707"/>
                <a:gd name="T21" fmla="*/ 731 h 2755"/>
                <a:gd name="T22" fmla="*/ 973 w 1707"/>
                <a:gd name="T23" fmla="*/ 0 h 2755"/>
                <a:gd name="T24" fmla="*/ 1467 w 1707"/>
                <a:gd name="T25" fmla="*/ 69 h 2755"/>
                <a:gd name="T26" fmla="*/ 1467 w 1707"/>
                <a:gd name="T27" fmla="*/ 479 h 2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07" h="2755">
                  <a:moveTo>
                    <a:pt x="1467" y="479"/>
                  </a:moveTo>
                  <a:cubicBezTo>
                    <a:pt x="1467" y="479"/>
                    <a:pt x="1352" y="277"/>
                    <a:pt x="1019" y="276"/>
                  </a:cubicBezTo>
                  <a:cubicBezTo>
                    <a:pt x="686" y="275"/>
                    <a:pt x="505" y="450"/>
                    <a:pt x="504" y="677"/>
                  </a:cubicBezTo>
                  <a:cubicBezTo>
                    <a:pt x="503" y="934"/>
                    <a:pt x="696" y="1031"/>
                    <a:pt x="995" y="1174"/>
                  </a:cubicBezTo>
                  <a:cubicBezTo>
                    <a:pt x="1279" y="1311"/>
                    <a:pt x="1707" y="1499"/>
                    <a:pt x="1705" y="1974"/>
                  </a:cubicBezTo>
                  <a:cubicBezTo>
                    <a:pt x="1704" y="2399"/>
                    <a:pt x="1327" y="2755"/>
                    <a:pt x="651" y="2755"/>
                  </a:cubicBezTo>
                  <a:cubicBezTo>
                    <a:pt x="442" y="2754"/>
                    <a:pt x="155" y="2686"/>
                    <a:pt x="155" y="2686"/>
                  </a:cubicBezTo>
                  <a:cubicBezTo>
                    <a:pt x="0" y="2177"/>
                    <a:pt x="0" y="2177"/>
                    <a:pt x="0" y="2177"/>
                  </a:cubicBezTo>
                  <a:cubicBezTo>
                    <a:pt x="143" y="2316"/>
                    <a:pt x="397" y="2466"/>
                    <a:pt x="658" y="2466"/>
                  </a:cubicBezTo>
                  <a:cubicBezTo>
                    <a:pt x="929" y="2466"/>
                    <a:pt x="1252" y="2298"/>
                    <a:pt x="1252" y="2030"/>
                  </a:cubicBezTo>
                  <a:cubicBezTo>
                    <a:pt x="1252" y="1512"/>
                    <a:pt x="46" y="1598"/>
                    <a:pt x="46" y="731"/>
                  </a:cubicBezTo>
                  <a:cubicBezTo>
                    <a:pt x="46" y="433"/>
                    <a:pt x="254" y="0"/>
                    <a:pt x="973" y="0"/>
                  </a:cubicBezTo>
                  <a:cubicBezTo>
                    <a:pt x="1207" y="0"/>
                    <a:pt x="1467" y="69"/>
                    <a:pt x="1467" y="69"/>
                  </a:cubicBezTo>
                  <a:lnTo>
                    <a:pt x="1467" y="479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 sz="1600"/>
            </a:p>
          </p:txBody>
        </p:sp>
      </p:grpSp>
      <p:sp>
        <p:nvSpPr>
          <p:cNvPr id="17" name="コンテンツ プレースホルダー 2"/>
          <p:cNvSpPr>
            <a:spLocks noGrp="1"/>
          </p:cNvSpPr>
          <p:nvPr>
            <p:ph idx="1" hasCustomPrompt="1"/>
          </p:nvPr>
        </p:nvSpPr>
        <p:spPr>
          <a:xfrm>
            <a:off x="252004" y="845739"/>
            <a:ext cx="8645525" cy="374217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ja-JP" altLang="en-US" sz="1600" dirty="0"/>
            </a:lvl1pPr>
            <a:lvl2pPr>
              <a:defRPr lang="ja-JP" altLang="en-US" sz="1440" dirty="0"/>
            </a:lvl2pPr>
            <a:lvl3pPr>
              <a:defRPr lang="ja-JP" altLang="en-US" dirty="0"/>
            </a:lvl3pPr>
            <a:lvl4pPr>
              <a:defRPr lang="ja-JP" altLang="en-US" dirty="0"/>
            </a:lvl4pPr>
            <a:lvl5pPr>
              <a:defRPr lang="ja-JP" altLang="en-US" dirty="0"/>
            </a:lvl5pPr>
          </a:lstStyle>
          <a:p>
            <a:pPr lvl="0"/>
            <a:r>
              <a:rPr lang="ja-JP" altLang="en-US"/>
              <a:t>テキスト</a:t>
            </a:r>
          </a:p>
          <a:p>
            <a:pPr lvl="1"/>
            <a:r>
              <a:rPr lang="ja-JP" altLang="en-US"/>
              <a:t>テキスト</a:t>
            </a:r>
          </a:p>
        </p:txBody>
      </p:sp>
    </p:spTree>
    <p:extLst>
      <p:ext uri="{BB962C8B-B14F-4D97-AF65-F5344CB8AC3E}">
        <p14:creationId xmlns:p14="http://schemas.microsoft.com/office/powerpoint/2010/main" val="232219686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Chapter_Red_Symbolm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快適にレース観戦できるライブタイミングの使い方を紹介">
            <a:extLst>
              <a:ext uri="{FF2B5EF4-FFF2-40B4-BE49-F238E27FC236}">
                <a16:creationId xmlns:a16="http://schemas.microsoft.com/office/drawing/2014/main" id="{E97EAED5-E101-4B44-966D-E50608D642B0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1" r="2265" b="8210"/>
          <a:stretch/>
        </p:blipFill>
        <p:spPr bwMode="auto">
          <a:xfrm>
            <a:off x="0" y="1"/>
            <a:ext cx="9108504" cy="54520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フッター プレースホルダー 3"/>
          <p:cNvSpPr>
            <a:spLocks noGrp="1"/>
          </p:cNvSpPr>
          <p:nvPr>
            <p:ph type="ftr" sz="quarter" idx="10"/>
          </p:nvPr>
        </p:nvSpPr>
        <p:spPr>
          <a:xfrm>
            <a:off x="4932363" y="4935604"/>
            <a:ext cx="3960812" cy="201551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ja-JP"/>
              <a:t>Copyright 2021 FUJITSU LIMITED</a:t>
            </a:r>
            <a:endParaRPr lang="de-DE" altLang="ja-JP"/>
          </a:p>
        </p:txBody>
      </p:sp>
      <p:pic>
        <p:nvPicPr>
          <p:cNvPr id="26" name="図 2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9" y="5654"/>
            <a:ext cx="3489075" cy="3783432"/>
          </a:xfrm>
          <a:prstGeom prst="rect">
            <a:avLst/>
          </a:prstGeom>
        </p:spPr>
      </p:pic>
      <p:sp>
        <p:nvSpPr>
          <p:cNvPr id="27" name="タイトル 1"/>
          <p:cNvSpPr>
            <a:spLocks noGrp="1"/>
          </p:cNvSpPr>
          <p:nvPr>
            <p:ph type="title" hasCustomPrompt="1"/>
          </p:nvPr>
        </p:nvSpPr>
        <p:spPr>
          <a:xfrm>
            <a:off x="467544" y="503208"/>
            <a:ext cx="2520282" cy="2428472"/>
          </a:xfrm>
        </p:spPr>
        <p:txBody>
          <a:bodyPr anchor="t"/>
          <a:lstStyle>
            <a:lvl1pPr algn="l"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 altLang="ja-JP"/>
              <a:t>Chapter Title</a:t>
            </a:r>
            <a:endParaRPr lang="ja-JP" altLang="en-US"/>
          </a:p>
        </p:txBody>
      </p:sp>
      <p:pic>
        <p:nvPicPr>
          <p:cNvPr id="29" name="図 2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7991" y="247968"/>
            <a:ext cx="1216206" cy="613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224919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2503" name="Picture 7" descr="TitleRed_24_L15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0"/>
            <a:ext cx="9144000" cy="37294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2499" name="Rectangle 3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233363" y="1563950"/>
            <a:ext cx="8280000" cy="1500568"/>
          </a:xfrm>
          <a:extLs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C0C0C0"/>
                  </a:outerShdw>
                </a:effectLst>
              </a14:hiddenEffects>
            </a:ext>
          </a:extLst>
        </p:spPr>
        <p:txBody>
          <a:bodyPr anchor="b"/>
          <a:lstStyle>
            <a:lvl1pPr>
              <a:lnSpc>
                <a:spcPct val="100000"/>
              </a:lnSpc>
              <a:defRPr sz="3200">
                <a:solidFill>
                  <a:schemeClr val="bg1"/>
                </a:solidFill>
              </a:defRPr>
            </a:lvl1pPr>
          </a:lstStyle>
          <a:p>
            <a:pPr lvl="0"/>
            <a:r>
              <a:rPr lang="ja-JP" altLang="en-US" noProof="0"/>
              <a:t>マスタ タイトルの書式設定</a:t>
            </a:r>
          </a:p>
        </p:txBody>
      </p:sp>
      <p:sp>
        <p:nvSpPr>
          <p:cNvPr id="362500" name="Rectangle 4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233363" y="3398976"/>
            <a:ext cx="8280000" cy="1339712"/>
          </a:xfrm>
        </p:spPr>
        <p:txBody>
          <a:bodyPr anchor="t" anchorCtr="0"/>
          <a:lstStyle>
            <a:lvl1pPr marL="0" marR="0" indent="0" algn="l" defTabSz="809625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30B1A"/>
              </a:buClr>
              <a:buSzTx/>
              <a:buFont typeface="Wingdings" pitchFamily="2" charset="2"/>
              <a:buNone/>
              <a:tabLst/>
              <a:defRPr kumimoji="0"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ja-JP" altLang="en-US" noProof="0"/>
              <a:t>マスタ サブタイトルの書式設定</a:t>
            </a:r>
            <a:endParaRPr lang="en-US" altLang="ja-JP" noProof="0"/>
          </a:p>
          <a:p>
            <a:pPr marL="0" marR="0" lvl="0" indent="0" algn="l" defTabSz="809625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30B1A"/>
              </a:buClr>
              <a:buSzTx/>
              <a:buFont typeface="Wingdings" pitchFamily="2" charset="2"/>
              <a:buNone/>
              <a:tabLst/>
              <a:defRPr/>
            </a:pPr>
            <a:endParaRPr lang="ja-JP" altLang="en-US" noProof="0"/>
          </a:p>
        </p:txBody>
      </p:sp>
      <p:grpSp>
        <p:nvGrpSpPr>
          <p:cNvPr id="362507" name="Group 11"/>
          <p:cNvGrpSpPr>
            <a:grpSpLocks noChangeAspect="1"/>
          </p:cNvGrpSpPr>
          <p:nvPr userDrawn="1"/>
        </p:nvGrpSpPr>
        <p:grpSpPr bwMode="gray">
          <a:xfrm>
            <a:off x="7608889" y="114265"/>
            <a:ext cx="1417637" cy="791919"/>
            <a:chOff x="4793" y="72"/>
            <a:chExt cx="893" cy="499"/>
          </a:xfrm>
        </p:grpSpPr>
        <p:sp>
          <p:nvSpPr>
            <p:cNvPr id="362506" name="AutoShape 10"/>
            <p:cNvSpPr>
              <a:spLocks noChangeAspect="1" noChangeArrowheads="1" noTextEdit="1"/>
            </p:cNvSpPr>
            <p:nvPr userDrawn="1"/>
          </p:nvSpPr>
          <p:spPr bwMode="gray">
            <a:xfrm>
              <a:off x="4793" y="72"/>
              <a:ext cx="893" cy="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362508" name="Freeform 12"/>
            <p:cNvSpPr>
              <a:spLocks/>
            </p:cNvSpPr>
            <p:nvPr userDrawn="1"/>
          </p:nvSpPr>
          <p:spPr bwMode="gray">
            <a:xfrm>
              <a:off x="4837" y="491"/>
              <a:ext cx="22" cy="37"/>
            </a:xfrm>
            <a:custGeom>
              <a:avLst/>
              <a:gdLst>
                <a:gd name="T0" fmla="*/ 0 w 463"/>
                <a:gd name="T1" fmla="*/ 731 h 762"/>
                <a:gd name="T2" fmla="*/ 0 w 463"/>
                <a:gd name="T3" fmla="*/ 643 h 762"/>
                <a:gd name="T4" fmla="*/ 177 w 463"/>
                <a:gd name="T5" fmla="*/ 684 h 762"/>
                <a:gd name="T6" fmla="*/ 355 w 463"/>
                <a:gd name="T7" fmla="*/ 568 h 762"/>
                <a:gd name="T8" fmla="*/ 325 w 463"/>
                <a:gd name="T9" fmla="*/ 493 h 762"/>
                <a:gd name="T10" fmla="*/ 271 w 463"/>
                <a:gd name="T11" fmla="*/ 452 h 762"/>
                <a:gd name="T12" fmla="*/ 203 w 463"/>
                <a:gd name="T13" fmla="*/ 417 h 762"/>
                <a:gd name="T14" fmla="*/ 62 w 463"/>
                <a:gd name="T15" fmla="*/ 323 h 762"/>
                <a:gd name="T16" fmla="*/ 12 w 463"/>
                <a:gd name="T17" fmla="*/ 190 h 762"/>
                <a:gd name="T18" fmla="*/ 90 w 463"/>
                <a:gd name="T19" fmla="*/ 41 h 762"/>
                <a:gd name="T20" fmla="*/ 257 w 463"/>
                <a:gd name="T21" fmla="*/ 0 h 762"/>
                <a:gd name="T22" fmla="*/ 411 w 463"/>
                <a:gd name="T23" fmla="*/ 24 h 762"/>
                <a:gd name="T24" fmla="*/ 411 w 463"/>
                <a:gd name="T25" fmla="*/ 106 h 762"/>
                <a:gd name="T26" fmla="*/ 262 w 463"/>
                <a:gd name="T27" fmla="*/ 74 h 762"/>
                <a:gd name="T28" fmla="*/ 162 w 463"/>
                <a:gd name="T29" fmla="*/ 98 h 762"/>
                <a:gd name="T30" fmla="*/ 120 w 463"/>
                <a:gd name="T31" fmla="*/ 178 h 762"/>
                <a:gd name="T32" fmla="*/ 149 w 463"/>
                <a:gd name="T33" fmla="*/ 253 h 762"/>
                <a:gd name="T34" fmla="*/ 273 w 463"/>
                <a:gd name="T35" fmla="*/ 331 h 762"/>
                <a:gd name="T36" fmla="*/ 374 w 463"/>
                <a:gd name="T37" fmla="*/ 388 h 762"/>
                <a:gd name="T38" fmla="*/ 444 w 463"/>
                <a:gd name="T39" fmla="*/ 465 h 762"/>
                <a:gd name="T40" fmla="*/ 463 w 463"/>
                <a:gd name="T41" fmla="*/ 556 h 762"/>
                <a:gd name="T42" fmla="*/ 184 w 463"/>
                <a:gd name="T43" fmla="*/ 762 h 762"/>
                <a:gd name="T44" fmla="*/ 0 w 463"/>
                <a:gd name="T45" fmla="*/ 731 h 7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63" h="762">
                  <a:moveTo>
                    <a:pt x="0" y="731"/>
                  </a:moveTo>
                  <a:cubicBezTo>
                    <a:pt x="0" y="643"/>
                    <a:pt x="0" y="643"/>
                    <a:pt x="0" y="643"/>
                  </a:cubicBezTo>
                  <a:cubicBezTo>
                    <a:pt x="48" y="670"/>
                    <a:pt x="107" y="684"/>
                    <a:pt x="177" y="684"/>
                  </a:cubicBezTo>
                  <a:cubicBezTo>
                    <a:pt x="296" y="684"/>
                    <a:pt x="355" y="645"/>
                    <a:pt x="355" y="568"/>
                  </a:cubicBezTo>
                  <a:cubicBezTo>
                    <a:pt x="355" y="538"/>
                    <a:pt x="345" y="513"/>
                    <a:pt x="325" y="493"/>
                  </a:cubicBezTo>
                  <a:cubicBezTo>
                    <a:pt x="309" y="477"/>
                    <a:pt x="291" y="463"/>
                    <a:pt x="271" y="452"/>
                  </a:cubicBezTo>
                  <a:cubicBezTo>
                    <a:pt x="253" y="442"/>
                    <a:pt x="231" y="431"/>
                    <a:pt x="203" y="417"/>
                  </a:cubicBezTo>
                  <a:cubicBezTo>
                    <a:pt x="135" y="384"/>
                    <a:pt x="89" y="352"/>
                    <a:pt x="62" y="323"/>
                  </a:cubicBezTo>
                  <a:cubicBezTo>
                    <a:pt x="29" y="286"/>
                    <a:pt x="12" y="242"/>
                    <a:pt x="12" y="190"/>
                  </a:cubicBezTo>
                  <a:cubicBezTo>
                    <a:pt x="12" y="124"/>
                    <a:pt x="38" y="74"/>
                    <a:pt x="90" y="41"/>
                  </a:cubicBezTo>
                  <a:cubicBezTo>
                    <a:pt x="134" y="13"/>
                    <a:pt x="189" y="0"/>
                    <a:pt x="257" y="0"/>
                  </a:cubicBezTo>
                  <a:cubicBezTo>
                    <a:pt x="304" y="0"/>
                    <a:pt x="355" y="8"/>
                    <a:pt x="411" y="24"/>
                  </a:cubicBezTo>
                  <a:cubicBezTo>
                    <a:pt x="411" y="106"/>
                    <a:pt x="411" y="106"/>
                    <a:pt x="411" y="106"/>
                  </a:cubicBezTo>
                  <a:cubicBezTo>
                    <a:pt x="364" y="85"/>
                    <a:pt x="314" y="74"/>
                    <a:pt x="262" y="74"/>
                  </a:cubicBezTo>
                  <a:cubicBezTo>
                    <a:pt x="222" y="74"/>
                    <a:pt x="188" y="82"/>
                    <a:pt x="162" y="98"/>
                  </a:cubicBezTo>
                  <a:cubicBezTo>
                    <a:pt x="134" y="115"/>
                    <a:pt x="120" y="141"/>
                    <a:pt x="120" y="178"/>
                  </a:cubicBezTo>
                  <a:cubicBezTo>
                    <a:pt x="120" y="209"/>
                    <a:pt x="130" y="234"/>
                    <a:pt x="149" y="253"/>
                  </a:cubicBezTo>
                  <a:cubicBezTo>
                    <a:pt x="168" y="273"/>
                    <a:pt x="209" y="298"/>
                    <a:pt x="273" y="331"/>
                  </a:cubicBezTo>
                  <a:cubicBezTo>
                    <a:pt x="324" y="356"/>
                    <a:pt x="357" y="375"/>
                    <a:pt x="374" y="388"/>
                  </a:cubicBezTo>
                  <a:cubicBezTo>
                    <a:pt x="407" y="412"/>
                    <a:pt x="430" y="437"/>
                    <a:pt x="444" y="465"/>
                  </a:cubicBezTo>
                  <a:cubicBezTo>
                    <a:pt x="457" y="490"/>
                    <a:pt x="463" y="520"/>
                    <a:pt x="463" y="556"/>
                  </a:cubicBezTo>
                  <a:cubicBezTo>
                    <a:pt x="463" y="693"/>
                    <a:pt x="370" y="762"/>
                    <a:pt x="184" y="762"/>
                  </a:cubicBezTo>
                  <a:cubicBezTo>
                    <a:pt x="109" y="762"/>
                    <a:pt x="48" y="752"/>
                    <a:pt x="0" y="73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362509" name="Freeform 13"/>
            <p:cNvSpPr>
              <a:spLocks/>
            </p:cNvSpPr>
            <p:nvPr userDrawn="1"/>
          </p:nvSpPr>
          <p:spPr bwMode="gray">
            <a:xfrm>
              <a:off x="4868" y="475"/>
              <a:ext cx="26" cy="52"/>
            </a:xfrm>
            <a:custGeom>
              <a:avLst/>
              <a:gdLst>
                <a:gd name="T0" fmla="*/ 0 w 548"/>
                <a:gd name="T1" fmla="*/ 1087 h 1087"/>
                <a:gd name="T2" fmla="*/ 0 w 548"/>
                <a:gd name="T3" fmla="*/ 0 h 1087"/>
                <a:gd name="T4" fmla="*/ 124 w 548"/>
                <a:gd name="T5" fmla="*/ 0 h 1087"/>
                <a:gd name="T6" fmla="*/ 124 w 548"/>
                <a:gd name="T7" fmla="*/ 382 h 1087"/>
                <a:gd name="T8" fmla="*/ 306 w 548"/>
                <a:gd name="T9" fmla="*/ 345 h 1087"/>
                <a:gd name="T10" fmla="*/ 526 w 548"/>
                <a:gd name="T11" fmla="*/ 458 h 1087"/>
                <a:gd name="T12" fmla="*/ 548 w 548"/>
                <a:gd name="T13" fmla="*/ 644 h 1087"/>
                <a:gd name="T14" fmla="*/ 548 w 548"/>
                <a:gd name="T15" fmla="*/ 1087 h 1087"/>
                <a:gd name="T16" fmla="*/ 425 w 548"/>
                <a:gd name="T17" fmla="*/ 1087 h 1087"/>
                <a:gd name="T18" fmla="*/ 425 w 548"/>
                <a:gd name="T19" fmla="*/ 624 h 1087"/>
                <a:gd name="T20" fmla="*/ 403 w 548"/>
                <a:gd name="T21" fmla="*/ 477 h 1087"/>
                <a:gd name="T22" fmla="*/ 294 w 548"/>
                <a:gd name="T23" fmla="*/ 419 h 1087"/>
                <a:gd name="T24" fmla="*/ 124 w 548"/>
                <a:gd name="T25" fmla="*/ 463 h 1087"/>
                <a:gd name="T26" fmla="*/ 124 w 548"/>
                <a:gd name="T27" fmla="*/ 1087 h 1087"/>
                <a:gd name="T28" fmla="*/ 0 w 548"/>
                <a:gd name="T29" fmla="*/ 1087 h 10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48" h="1087">
                  <a:moveTo>
                    <a:pt x="0" y="108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24" y="382"/>
                    <a:pt x="124" y="382"/>
                    <a:pt x="124" y="382"/>
                  </a:cubicBezTo>
                  <a:cubicBezTo>
                    <a:pt x="188" y="357"/>
                    <a:pt x="249" y="345"/>
                    <a:pt x="306" y="345"/>
                  </a:cubicBezTo>
                  <a:cubicBezTo>
                    <a:pt x="420" y="345"/>
                    <a:pt x="493" y="382"/>
                    <a:pt x="526" y="458"/>
                  </a:cubicBezTo>
                  <a:cubicBezTo>
                    <a:pt x="541" y="492"/>
                    <a:pt x="548" y="554"/>
                    <a:pt x="548" y="644"/>
                  </a:cubicBezTo>
                  <a:cubicBezTo>
                    <a:pt x="548" y="1087"/>
                    <a:pt x="548" y="1087"/>
                    <a:pt x="548" y="1087"/>
                  </a:cubicBezTo>
                  <a:cubicBezTo>
                    <a:pt x="425" y="1087"/>
                    <a:pt x="425" y="1087"/>
                    <a:pt x="425" y="1087"/>
                  </a:cubicBezTo>
                  <a:cubicBezTo>
                    <a:pt x="425" y="624"/>
                    <a:pt x="425" y="624"/>
                    <a:pt x="425" y="624"/>
                  </a:cubicBezTo>
                  <a:cubicBezTo>
                    <a:pt x="425" y="555"/>
                    <a:pt x="418" y="506"/>
                    <a:pt x="403" y="477"/>
                  </a:cubicBezTo>
                  <a:cubicBezTo>
                    <a:pt x="384" y="439"/>
                    <a:pt x="347" y="419"/>
                    <a:pt x="294" y="419"/>
                  </a:cubicBezTo>
                  <a:cubicBezTo>
                    <a:pt x="245" y="419"/>
                    <a:pt x="189" y="434"/>
                    <a:pt x="124" y="463"/>
                  </a:cubicBezTo>
                  <a:cubicBezTo>
                    <a:pt x="124" y="1087"/>
                    <a:pt x="124" y="1087"/>
                    <a:pt x="124" y="1087"/>
                  </a:cubicBezTo>
                  <a:lnTo>
                    <a:pt x="0" y="108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362510" name="Freeform 14"/>
            <p:cNvSpPr>
              <a:spLocks noEditPoints="1"/>
            </p:cNvSpPr>
            <p:nvPr userDrawn="1"/>
          </p:nvSpPr>
          <p:spPr bwMode="gray">
            <a:xfrm>
              <a:off x="4902" y="491"/>
              <a:ext cx="27" cy="37"/>
            </a:xfrm>
            <a:custGeom>
              <a:avLst/>
              <a:gdLst>
                <a:gd name="T0" fmla="*/ 437 w 561"/>
                <a:gd name="T1" fmla="*/ 286 h 762"/>
                <a:gd name="T2" fmla="*/ 437 w 561"/>
                <a:gd name="T3" fmla="*/ 248 h 762"/>
                <a:gd name="T4" fmla="*/ 415 w 561"/>
                <a:gd name="T5" fmla="*/ 138 h 762"/>
                <a:gd name="T6" fmla="*/ 271 w 561"/>
                <a:gd name="T7" fmla="*/ 77 h 762"/>
                <a:gd name="T8" fmla="*/ 70 w 561"/>
                <a:gd name="T9" fmla="*/ 118 h 762"/>
                <a:gd name="T10" fmla="*/ 70 w 561"/>
                <a:gd name="T11" fmla="*/ 31 h 762"/>
                <a:gd name="T12" fmla="*/ 284 w 561"/>
                <a:gd name="T13" fmla="*/ 0 h 762"/>
                <a:gd name="T14" fmla="*/ 516 w 561"/>
                <a:gd name="T15" fmla="*/ 76 h 762"/>
                <a:gd name="T16" fmla="*/ 558 w 561"/>
                <a:gd name="T17" fmla="*/ 200 h 762"/>
                <a:gd name="T18" fmla="*/ 561 w 561"/>
                <a:gd name="T19" fmla="*/ 290 h 762"/>
                <a:gd name="T20" fmla="*/ 561 w 561"/>
                <a:gd name="T21" fmla="*/ 727 h 762"/>
                <a:gd name="T22" fmla="*/ 293 w 561"/>
                <a:gd name="T23" fmla="*/ 762 h 762"/>
                <a:gd name="T24" fmla="*/ 83 w 561"/>
                <a:gd name="T25" fmla="*/ 720 h 762"/>
                <a:gd name="T26" fmla="*/ 0 w 561"/>
                <a:gd name="T27" fmla="*/ 558 h 762"/>
                <a:gd name="T28" fmla="*/ 96 w 561"/>
                <a:gd name="T29" fmla="*/ 363 h 762"/>
                <a:gd name="T30" fmla="*/ 336 w 561"/>
                <a:gd name="T31" fmla="*/ 297 h 762"/>
                <a:gd name="T32" fmla="*/ 437 w 561"/>
                <a:gd name="T33" fmla="*/ 286 h 762"/>
                <a:gd name="T34" fmla="*/ 437 w 561"/>
                <a:gd name="T35" fmla="*/ 356 h 762"/>
                <a:gd name="T36" fmla="*/ 267 w 561"/>
                <a:gd name="T37" fmla="*/ 382 h 762"/>
                <a:gd name="T38" fmla="*/ 127 w 561"/>
                <a:gd name="T39" fmla="*/ 545 h 762"/>
                <a:gd name="T40" fmla="*/ 168 w 561"/>
                <a:gd name="T41" fmla="*/ 650 h 762"/>
                <a:gd name="T42" fmla="*/ 312 w 561"/>
                <a:gd name="T43" fmla="*/ 687 h 762"/>
                <a:gd name="T44" fmla="*/ 437 w 561"/>
                <a:gd name="T45" fmla="*/ 670 h 762"/>
                <a:gd name="T46" fmla="*/ 437 w 561"/>
                <a:gd name="T47" fmla="*/ 356 h 7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61" h="762">
                  <a:moveTo>
                    <a:pt x="437" y="286"/>
                  </a:moveTo>
                  <a:cubicBezTo>
                    <a:pt x="437" y="248"/>
                    <a:pt x="437" y="248"/>
                    <a:pt x="437" y="248"/>
                  </a:cubicBezTo>
                  <a:cubicBezTo>
                    <a:pt x="437" y="200"/>
                    <a:pt x="430" y="164"/>
                    <a:pt x="415" y="138"/>
                  </a:cubicBezTo>
                  <a:cubicBezTo>
                    <a:pt x="392" y="97"/>
                    <a:pt x="344" y="77"/>
                    <a:pt x="271" y="77"/>
                  </a:cubicBezTo>
                  <a:cubicBezTo>
                    <a:pt x="206" y="77"/>
                    <a:pt x="139" y="91"/>
                    <a:pt x="70" y="118"/>
                  </a:cubicBezTo>
                  <a:cubicBezTo>
                    <a:pt x="70" y="31"/>
                    <a:pt x="70" y="31"/>
                    <a:pt x="70" y="31"/>
                  </a:cubicBezTo>
                  <a:cubicBezTo>
                    <a:pt x="139" y="10"/>
                    <a:pt x="210" y="0"/>
                    <a:pt x="284" y="0"/>
                  </a:cubicBezTo>
                  <a:cubicBezTo>
                    <a:pt x="397" y="0"/>
                    <a:pt x="474" y="25"/>
                    <a:pt x="516" y="76"/>
                  </a:cubicBezTo>
                  <a:cubicBezTo>
                    <a:pt x="539" y="104"/>
                    <a:pt x="553" y="145"/>
                    <a:pt x="558" y="200"/>
                  </a:cubicBezTo>
                  <a:cubicBezTo>
                    <a:pt x="560" y="220"/>
                    <a:pt x="561" y="250"/>
                    <a:pt x="561" y="290"/>
                  </a:cubicBezTo>
                  <a:cubicBezTo>
                    <a:pt x="561" y="727"/>
                    <a:pt x="561" y="727"/>
                    <a:pt x="561" y="727"/>
                  </a:cubicBezTo>
                  <a:cubicBezTo>
                    <a:pt x="477" y="750"/>
                    <a:pt x="387" y="762"/>
                    <a:pt x="293" y="762"/>
                  </a:cubicBezTo>
                  <a:cubicBezTo>
                    <a:pt x="203" y="762"/>
                    <a:pt x="133" y="748"/>
                    <a:pt x="83" y="720"/>
                  </a:cubicBezTo>
                  <a:cubicBezTo>
                    <a:pt x="28" y="689"/>
                    <a:pt x="0" y="635"/>
                    <a:pt x="0" y="558"/>
                  </a:cubicBezTo>
                  <a:cubicBezTo>
                    <a:pt x="0" y="470"/>
                    <a:pt x="32" y="405"/>
                    <a:pt x="96" y="363"/>
                  </a:cubicBezTo>
                  <a:cubicBezTo>
                    <a:pt x="143" y="332"/>
                    <a:pt x="223" y="310"/>
                    <a:pt x="336" y="297"/>
                  </a:cubicBezTo>
                  <a:cubicBezTo>
                    <a:pt x="357" y="294"/>
                    <a:pt x="391" y="291"/>
                    <a:pt x="437" y="286"/>
                  </a:cubicBezTo>
                  <a:close/>
                  <a:moveTo>
                    <a:pt x="437" y="356"/>
                  </a:moveTo>
                  <a:cubicBezTo>
                    <a:pt x="362" y="363"/>
                    <a:pt x="305" y="372"/>
                    <a:pt x="267" y="382"/>
                  </a:cubicBezTo>
                  <a:cubicBezTo>
                    <a:pt x="173" y="405"/>
                    <a:pt x="127" y="460"/>
                    <a:pt x="127" y="545"/>
                  </a:cubicBezTo>
                  <a:cubicBezTo>
                    <a:pt x="127" y="593"/>
                    <a:pt x="140" y="627"/>
                    <a:pt x="168" y="650"/>
                  </a:cubicBezTo>
                  <a:cubicBezTo>
                    <a:pt x="198" y="675"/>
                    <a:pt x="246" y="687"/>
                    <a:pt x="312" y="687"/>
                  </a:cubicBezTo>
                  <a:cubicBezTo>
                    <a:pt x="357" y="687"/>
                    <a:pt x="398" y="681"/>
                    <a:pt x="437" y="670"/>
                  </a:cubicBezTo>
                  <a:lnTo>
                    <a:pt x="437" y="3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362511" name="Freeform 15"/>
            <p:cNvSpPr>
              <a:spLocks noEditPoints="1"/>
            </p:cNvSpPr>
            <p:nvPr userDrawn="1"/>
          </p:nvSpPr>
          <p:spPr bwMode="gray">
            <a:xfrm>
              <a:off x="4939" y="491"/>
              <a:ext cx="28" cy="53"/>
            </a:xfrm>
            <a:custGeom>
              <a:avLst/>
              <a:gdLst>
                <a:gd name="T0" fmla="*/ 123 w 567"/>
                <a:gd name="T1" fmla="*/ 711 h 1087"/>
                <a:gd name="T2" fmla="*/ 123 w 567"/>
                <a:gd name="T3" fmla="*/ 1087 h 1087"/>
                <a:gd name="T4" fmla="*/ 0 w 567"/>
                <a:gd name="T5" fmla="*/ 1087 h 1087"/>
                <a:gd name="T6" fmla="*/ 0 w 567"/>
                <a:gd name="T7" fmla="*/ 28 h 1087"/>
                <a:gd name="T8" fmla="*/ 249 w 567"/>
                <a:gd name="T9" fmla="*/ 0 h 1087"/>
                <a:gd name="T10" fmla="*/ 505 w 567"/>
                <a:gd name="T11" fmla="*/ 113 h 1087"/>
                <a:gd name="T12" fmla="*/ 567 w 567"/>
                <a:gd name="T13" fmla="*/ 379 h 1087"/>
                <a:gd name="T14" fmla="*/ 489 w 567"/>
                <a:gd name="T15" fmla="*/ 662 h 1087"/>
                <a:gd name="T16" fmla="*/ 274 w 567"/>
                <a:gd name="T17" fmla="*/ 762 h 1087"/>
                <a:gd name="T18" fmla="*/ 172 w 567"/>
                <a:gd name="T19" fmla="*/ 742 h 1087"/>
                <a:gd name="T20" fmla="*/ 123 w 567"/>
                <a:gd name="T21" fmla="*/ 711 h 1087"/>
                <a:gd name="T22" fmla="*/ 123 w 567"/>
                <a:gd name="T23" fmla="*/ 625 h 1087"/>
                <a:gd name="T24" fmla="*/ 260 w 567"/>
                <a:gd name="T25" fmla="*/ 687 h 1087"/>
                <a:gd name="T26" fmla="*/ 400 w 567"/>
                <a:gd name="T27" fmla="*/ 591 h 1087"/>
                <a:gd name="T28" fmla="*/ 441 w 567"/>
                <a:gd name="T29" fmla="*/ 378 h 1087"/>
                <a:gd name="T30" fmla="*/ 386 w 567"/>
                <a:gd name="T31" fmla="*/ 140 h 1087"/>
                <a:gd name="T32" fmla="*/ 230 w 567"/>
                <a:gd name="T33" fmla="*/ 74 h 1087"/>
                <a:gd name="T34" fmla="*/ 123 w 567"/>
                <a:gd name="T35" fmla="*/ 83 h 1087"/>
                <a:gd name="T36" fmla="*/ 123 w 567"/>
                <a:gd name="T37" fmla="*/ 625 h 10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67" h="1087">
                  <a:moveTo>
                    <a:pt x="123" y="711"/>
                  </a:moveTo>
                  <a:cubicBezTo>
                    <a:pt x="123" y="1087"/>
                    <a:pt x="123" y="1087"/>
                    <a:pt x="123" y="1087"/>
                  </a:cubicBezTo>
                  <a:cubicBezTo>
                    <a:pt x="0" y="1087"/>
                    <a:pt x="0" y="1087"/>
                    <a:pt x="0" y="1087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85" y="9"/>
                    <a:pt x="168" y="0"/>
                    <a:pt x="249" y="0"/>
                  </a:cubicBezTo>
                  <a:cubicBezTo>
                    <a:pt x="374" y="0"/>
                    <a:pt x="459" y="37"/>
                    <a:pt x="505" y="113"/>
                  </a:cubicBezTo>
                  <a:cubicBezTo>
                    <a:pt x="546" y="180"/>
                    <a:pt x="567" y="269"/>
                    <a:pt x="567" y="379"/>
                  </a:cubicBezTo>
                  <a:cubicBezTo>
                    <a:pt x="567" y="495"/>
                    <a:pt x="541" y="590"/>
                    <a:pt x="489" y="662"/>
                  </a:cubicBezTo>
                  <a:cubicBezTo>
                    <a:pt x="440" y="728"/>
                    <a:pt x="369" y="762"/>
                    <a:pt x="274" y="762"/>
                  </a:cubicBezTo>
                  <a:cubicBezTo>
                    <a:pt x="234" y="762"/>
                    <a:pt x="200" y="755"/>
                    <a:pt x="172" y="742"/>
                  </a:cubicBezTo>
                  <a:cubicBezTo>
                    <a:pt x="159" y="736"/>
                    <a:pt x="142" y="725"/>
                    <a:pt x="123" y="711"/>
                  </a:cubicBezTo>
                  <a:close/>
                  <a:moveTo>
                    <a:pt x="123" y="625"/>
                  </a:moveTo>
                  <a:cubicBezTo>
                    <a:pt x="165" y="666"/>
                    <a:pt x="210" y="687"/>
                    <a:pt x="260" y="687"/>
                  </a:cubicBezTo>
                  <a:cubicBezTo>
                    <a:pt x="324" y="687"/>
                    <a:pt x="371" y="655"/>
                    <a:pt x="400" y="591"/>
                  </a:cubicBezTo>
                  <a:cubicBezTo>
                    <a:pt x="427" y="533"/>
                    <a:pt x="441" y="462"/>
                    <a:pt x="441" y="378"/>
                  </a:cubicBezTo>
                  <a:cubicBezTo>
                    <a:pt x="441" y="272"/>
                    <a:pt x="422" y="193"/>
                    <a:pt x="386" y="140"/>
                  </a:cubicBezTo>
                  <a:cubicBezTo>
                    <a:pt x="356" y="96"/>
                    <a:pt x="304" y="74"/>
                    <a:pt x="230" y="74"/>
                  </a:cubicBezTo>
                  <a:cubicBezTo>
                    <a:pt x="198" y="74"/>
                    <a:pt x="162" y="77"/>
                    <a:pt x="123" y="83"/>
                  </a:cubicBezTo>
                  <a:lnTo>
                    <a:pt x="123" y="62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362512" name="Freeform 16"/>
            <p:cNvSpPr>
              <a:spLocks noEditPoints="1"/>
            </p:cNvSpPr>
            <p:nvPr userDrawn="1"/>
          </p:nvSpPr>
          <p:spPr bwMode="gray">
            <a:xfrm>
              <a:off x="4975" y="479"/>
              <a:ext cx="7" cy="48"/>
            </a:xfrm>
            <a:custGeom>
              <a:avLst/>
              <a:gdLst>
                <a:gd name="T0" fmla="*/ 75 w 150"/>
                <a:gd name="T1" fmla="*/ 0 h 987"/>
                <a:gd name="T2" fmla="*/ 131 w 150"/>
                <a:gd name="T3" fmla="*/ 25 h 987"/>
                <a:gd name="T4" fmla="*/ 150 w 150"/>
                <a:gd name="T5" fmla="*/ 76 h 987"/>
                <a:gd name="T6" fmla="*/ 126 w 150"/>
                <a:gd name="T7" fmla="*/ 132 h 987"/>
                <a:gd name="T8" fmla="*/ 74 w 150"/>
                <a:gd name="T9" fmla="*/ 151 h 987"/>
                <a:gd name="T10" fmla="*/ 19 w 150"/>
                <a:gd name="T11" fmla="*/ 127 h 987"/>
                <a:gd name="T12" fmla="*/ 0 w 150"/>
                <a:gd name="T13" fmla="*/ 75 h 987"/>
                <a:gd name="T14" fmla="*/ 24 w 150"/>
                <a:gd name="T15" fmla="*/ 20 h 987"/>
                <a:gd name="T16" fmla="*/ 75 w 150"/>
                <a:gd name="T17" fmla="*/ 0 h 987"/>
                <a:gd name="T18" fmla="*/ 15 w 150"/>
                <a:gd name="T19" fmla="*/ 987 h 987"/>
                <a:gd name="T20" fmla="*/ 15 w 150"/>
                <a:gd name="T21" fmla="*/ 265 h 987"/>
                <a:gd name="T22" fmla="*/ 138 w 150"/>
                <a:gd name="T23" fmla="*/ 265 h 987"/>
                <a:gd name="T24" fmla="*/ 138 w 150"/>
                <a:gd name="T25" fmla="*/ 987 h 987"/>
                <a:gd name="T26" fmla="*/ 15 w 150"/>
                <a:gd name="T27" fmla="*/ 987 h 9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0" h="987">
                  <a:moveTo>
                    <a:pt x="75" y="0"/>
                  </a:moveTo>
                  <a:cubicBezTo>
                    <a:pt x="97" y="0"/>
                    <a:pt x="116" y="9"/>
                    <a:pt x="131" y="25"/>
                  </a:cubicBezTo>
                  <a:cubicBezTo>
                    <a:pt x="144" y="40"/>
                    <a:pt x="150" y="57"/>
                    <a:pt x="150" y="76"/>
                  </a:cubicBezTo>
                  <a:cubicBezTo>
                    <a:pt x="150" y="98"/>
                    <a:pt x="142" y="117"/>
                    <a:pt x="126" y="132"/>
                  </a:cubicBezTo>
                  <a:cubicBezTo>
                    <a:pt x="112" y="145"/>
                    <a:pt x="94" y="151"/>
                    <a:pt x="74" y="151"/>
                  </a:cubicBezTo>
                  <a:cubicBezTo>
                    <a:pt x="52" y="151"/>
                    <a:pt x="33" y="143"/>
                    <a:pt x="19" y="127"/>
                  </a:cubicBezTo>
                  <a:cubicBezTo>
                    <a:pt x="6" y="112"/>
                    <a:pt x="0" y="95"/>
                    <a:pt x="0" y="75"/>
                  </a:cubicBezTo>
                  <a:cubicBezTo>
                    <a:pt x="0" y="53"/>
                    <a:pt x="8" y="35"/>
                    <a:pt x="24" y="20"/>
                  </a:cubicBezTo>
                  <a:cubicBezTo>
                    <a:pt x="38" y="7"/>
                    <a:pt x="55" y="0"/>
                    <a:pt x="75" y="0"/>
                  </a:cubicBezTo>
                  <a:close/>
                  <a:moveTo>
                    <a:pt x="15" y="987"/>
                  </a:moveTo>
                  <a:cubicBezTo>
                    <a:pt x="15" y="265"/>
                    <a:pt x="15" y="265"/>
                    <a:pt x="15" y="265"/>
                  </a:cubicBezTo>
                  <a:cubicBezTo>
                    <a:pt x="138" y="265"/>
                    <a:pt x="138" y="265"/>
                    <a:pt x="138" y="265"/>
                  </a:cubicBezTo>
                  <a:cubicBezTo>
                    <a:pt x="138" y="987"/>
                    <a:pt x="138" y="987"/>
                    <a:pt x="138" y="987"/>
                  </a:cubicBezTo>
                  <a:lnTo>
                    <a:pt x="15" y="98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362513" name="Freeform 17"/>
            <p:cNvSpPr>
              <a:spLocks/>
            </p:cNvSpPr>
            <p:nvPr userDrawn="1"/>
          </p:nvSpPr>
          <p:spPr bwMode="gray">
            <a:xfrm>
              <a:off x="4993" y="491"/>
              <a:ext cx="26" cy="36"/>
            </a:xfrm>
            <a:custGeom>
              <a:avLst/>
              <a:gdLst>
                <a:gd name="T0" fmla="*/ 0 w 548"/>
                <a:gd name="T1" fmla="*/ 742 h 742"/>
                <a:gd name="T2" fmla="*/ 0 w 548"/>
                <a:gd name="T3" fmla="*/ 28 h 742"/>
                <a:gd name="T4" fmla="*/ 289 w 548"/>
                <a:gd name="T5" fmla="*/ 0 h 742"/>
                <a:gd name="T6" fmla="*/ 526 w 548"/>
                <a:gd name="T7" fmla="*/ 113 h 742"/>
                <a:gd name="T8" fmla="*/ 548 w 548"/>
                <a:gd name="T9" fmla="*/ 299 h 742"/>
                <a:gd name="T10" fmla="*/ 548 w 548"/>
                <a:gd name="T11" fmla="*/ 742 h 742"/>
                <a:gd name="T12" fmla="*/ 424 w 548"/>
                <a:gd name="T13" fmla="*/ 742 h 742"/>
                <a:gd name="T14" fmla="*/ 424 w 548"/>
                <a:gd name="T15" fmla="*/ 306 h 742"/>
                <a:gd name="T16" fmla="*/ 403 w 548"/>
                <a:gd name="T17" fmla="*/ 134 h 742"/>
                <a:gd name="T18" fmla="*/ 277 w 548"/>
                <a:gd name="T19" fmla="*/ 74 h 742"/>
                <a:gd name="T20" fmla="*/ 123 w 548"/>
                <a:gd name="T21" fmla="*/ 90 h 742"/>
                <a:gd name="T22" fmla="*/ 123 w 548"/>
                <a:gd name="T23" fmla="*/ 742 h 742"/>
                <a:gd name="T24" fmla="*/ 0 w 548"/>
                <a:gd name="T25" fmla="*/ 742 h 7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48" h="742">
                  <a:moveTo>
                    <a:pt x="0" y="742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114" y="9"/>
                    <a:pt x="210" y="0"/>
                    <a:pt x="289" y="0"/>
                  </a:cubicBezTo>
                  <a:cubicBezTo>
                    <a:pt x="415" y="0"/>
                    <a:pt x="494" y="38"/>
                    <a:pt x="526" y="113"/>
                  </a:cubicBezTo>
                  <a:cubicBezTo>
                    <a:pt x="541" y="149"/>
                    <a:pt x="548" y="210"/>
                    <a:pt x="548" y="299"/>
                  </a:cubicBezTo>
                  <a:cubicBezTo>
                    <a:pt x="548" y="742"/>
                    <a:pt x="548" y="742"/>
                    <a:pt x="548" y="742"/>
                  </a:cubicBezTo>
                  <a:cubicBezTo>
                    <a:pt x="424" y="742"/>
                    <a:pt x="424" y="742"/>
                    <a:pt x="424" y="742"/>
                  </a:cubicBezTo>
                  <a:cubicBezTo>
                    <a:pt x="424" y="306"/>
                    <a:pt x="424" y="306"/>
                    <a:pt x="424" y="306"/>
                  </a:cubicBezTo>
                  <a:cubicBezTo>
                    <a:pt x="424" y="221"/>
                    <a:pt x="417" y="163"/>
                    <a:pt x="403" y="134"/>
                  </a:cubicBezTo>
                  <a:cubicBezTo>
                    <a:pt x="382" y="94"/>
                    <a:pt x="341" y="74"/>
                    <a:pt x="277" y="74"/>
                  </a:cubicBezTo>
                  <a:cubicBezTo>
                    <a:pt x="227" y="74"/>
                    <a:pt x="176" y="80"/>
                    <a:pt x="123" y="90"/>
                  </a:cubicBezTo>
                  <a:cubicBezTo>
                    <a:pt x="123" y="742"/>
                    <a:pt x="123" y="742"/>
                    <a:pt x="123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362514" name="Freeform 18"/>
            <p:cNvSpPr>
              <a:spLocks noEditPoints="1"/>
            </p:cNvSpPr>
            <p:nvPr userDrawn="1"/>
          </p:nvSpPr>
          <p:spPr bwMode="gray">
            <a:xfrm>
              <a:off x="5027" y="491"/>
              <a:ext cx="27" cy="53"/>
            </a:xfrm>
            <a:custGeom>
              <a:avLst/>
              <a:gdLst>
                <a:gd name="T0" fmla="*/ 445 w 569"/>
                <a:gd name="T1" fmla="*/ 677 h 1098"/>
                <a:gd name="T2" fmla="*/ 399 w 569"/>
                <a:gd name="T3" fmla="*/ 721 h 1098"/>
                <a:gd name="T4" fmla="*/ 257 w 569"/>
                <a:gd name="T5" fmla="*/ 762 h 1098"/>
                <a:gd name="T6" fmla="*/ 97 w 569"/>
                <a:gd name="T7" fmla="*/ 708 h 1098"/>
                <a:gd name="T8" fmla="*/ 0 w 569"/>
                <a:gd name="T9" fmla="*/ 414 h 1098"/>
                <a:gd name="T10" fmla="*/ 71 w 569"/>
                <a:gd name="T11" fmla="*/ 131 h 1098"/>
                <a:gd name="T12" fmla="*/ 340 w 569"/>
                <a:gd name="T13" fmla="*/ 0 h 1098"/>
                <a:gd name="T14" fmla="*/ 569 w 569"/>
                <a:gd name="T15" fmla="*/ 28 h 1098"/>
                <a:gd name="T16" fmla="*/ 569 w 569"/>
                <a:gd name="T17" fmla="*/ 601 h 1098"/>
                <a:gd name="T18" fmla="*/ 555 w 569"/>
                <a:gd name="T19" fmla="*/ 843 h 1098"/>
                <a:gd name="T20" fmla="*/ 422 w 569"/>
                <a:gd name="T21" fmla="*/ 1052 h 1098"/>
                <a:gd name="T22" fmla="*/ 191 w 569"/>
                <a:gd name="T23" fmla="*/ 1098 h 1098"/>
                <a:gd name="T24" fmla="*/ 98 w 569"/>
                <a:gd name="T25" fmla="*/ 1092 h 1098"/>
                <a:gd name="T26" fmla="*/ 98 w 569"/>
                <a:gd name="T27" fmla="*/ 1018 h 1098"/>
                <a:gd name="T28" fmla="*/ 190 w 569"/>
                <a:gd name="T29" fmla="*/ 1024 h 1098"/>
                <a:gd name="T30" fmla="*/ 341 w 569"/>
                <a:gd name="T31" fmla="*/ 997 h 1098"/>
                <a:gd name="T32" fmla="*/ 434 w 569"/>
                <a:gd name="T33" fmla="*/ 858 h 1098"/>
                <a:gd name="T34" fmla="*/ 445 w 569"/>
                <a:gd name="T35" fmla="*/ 716 h 1098"/>
                <a:gd name="T36" fmla="*/ 445 w 569"/>
                <a:gd name="T37" fmla="*/ 677 h 1098"/>
                <a:gd name="T38" fmla="*/ 445 w 569"/>
                <a:gd name="T39" fmla="*/ 81 h 1098"/>
                <a:gd name="T40" fmla="*/ 353 w 569"/>
                <a:gd name="T41" fmla="*/ 74 h 1098"/>
                <a:gd name="T42" fmla="*/ 231 w 569"/>
                <a:gd name="T43" fmla="*/ 106 h 1098"/>
                <a:gd name="T44" fmla="*/ 152 w 569"/>
                <a:gd name="T45" fmla="*/ 233 h 1098"/>
                <a:gd name="T46" fmla="*/ 126 w 569"/>
                <a:gd name="T47" fmla="*/ 419 h 1098"/>
                <a:gd name="T48" fmla="*/ 174 w 569"/>
                <a:gd name="T49" fmla="*/ 633 h 1098"/>
                <a:gd name="T50" fmla="*/ 274 w 569"/>
                <a:gd name="T51" fmla="*/ 687 h 1098"/>
                <a:gd name="T52" fmla="*/ 371 w 569"/>
                <a:gd name="T53" fmla="*/ 654 h 1098"/>
                <a:gd name="T54" fmla="*/ 435 w 569"/>
                <a:gd name="T55" fmla="*/ 566 h 1098"/>
                <a:gd name="T56" fmla="*/ 445 w 569"/>
                <a:gd name="T57" fmla="*/ 483 h 1098"/>
                <a:gd name="T58" fmla="*/ 445 w 569"/>
                <a:gd name="T59" fmla="*/ 81 h 10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69" h="1098">
                  <a:moveTo>
                    <a:pt x="445" y="677"/>
                  </a:moveTo>
                  <a:cubicBezTo>
                    <a:pt x="427" y="697"/>
                    <a:pt x="412" y="712"/>
                    <a:pt x="399" y="721"/>
                  </a:cubicBezTo>
                  <a:cubicBezTo>
                    <a:pt x="362" y="748"/>
                    <a:pt x="314" y="762"/>
                    <a:pt x="257" y="762"/>
                  </a:cubicBezTo>
                  <a:cubicBezTo>
                    <a:pt x="192" y="762"/>
                    <a:pt x="139" y="744"/>
                    <a:pt x="97" y="708"/>
                  </a:cubicBezTo>
                  <a:cubicBezTo>
                    <a:pt x="32" y="654"/>
                    <a:pt x="0" y="556"/>
                    <a:pt x="0" y="414"/>
                  </a:cubicBezTo>
                  <a:cubicBezTo>
                    <a:pt x="0" y="300"/>
                    <a:pt x="24" y="206"/>
                    <a:pt x="71" y="131"/>
                  </a:cubicBezTo>
                  <a:cubicBezTo>
                    <a:pt x="126" y="44"/>
                    <a:pt x="216" y="0"/>
                    <a:pt x="340" y="0"/>
                  </a:cubicBezTo>
                  <a:cubicBezTo>
                    <a:pt x="414" y="0"/>
                    <a:pt x="490" y="9"/>
                    <a:pt x="569" y="28"/>
                  </a:cubicBezTo>
                  <a:cubicBezTo>
                    <a:pt x="569" y="601"/>
                    <a:pt x="569" y="601"/>
                    <a:pt x="569" y="601"/>
                  </a:cubicBezTo>
                  <a:cubicBezTo>
                    <a:pt x="569" y="707"/>
                    <a:pt x="564" y="788"/>
                    <a:pt x="555" y="843"/>
                  </a:cubicBezTo>
                  <a:cubicBezTo>
                    <a:pt x="538" y="944"/>
                    <a:pt x="494" y="1013"/>
                    <a:pt x="422" y="1052"/>
                  </a:cubicBezTo>
                  <a:cubicBezTo>
                    <a:pt x="363" y="1083"/>
                    <a:pt x="286" y="1098"/>
                    <a:pt x="191" y="1098"/>
                  </a:cubicBezTo>
                  <a:cubicBezTo>
                    <a:pt x="164" y="1098"/>
                    <a:pt x="133" y="1096"/>
                    <a:pt x="98" y="1092"/>
                  </a:cubicBezTo>
                  <a:cubicBezTo>
                    <a:pt x="98" y="1018"/>
                    <a:pt x="98" y="1018"/>
                    <a:pt x="98" y="1018"/>
                  </a:cubicBezTo>
                  <a:cubicBezTo>
                    <a:pt x="130" y="1022"/>
                    <a:pt x="160" y="1024"/>
                    <a:pt x="190" y="1024"/>
                  </a:cubicBezTo>
                  <a:cubicBezTo>
                    <a:pt x="258" y="1024"/>
                    <a:pt x="308" y="1015"/>
                    <a:pt x="341" y="997"/>
                  </a:cubicBezTo>
                  <a:cubicBezTo>
                    <a:pt x="390" y="971"/>
                    <a:pt x="421" y="924"/>
                    <a:pt x="434" y="858"/>
                  </a:cubicBezTo>
                  <a:cubicBezTo>
                    <a:pt x="442" y="821"/>
                    <a:pt x="445" y="773"/>
                    <a:pt x="445" y="716"/>
                  </a:cubicBezTo>
                  <a:lnTo>
                    <a:pt x="445" y="677"/>
                  </a:lnTo>
                  <a:close/>
                  <a:moveTo>
                    <a:pt x="445" y="81"/>
                  </a:moveTo>
                  <a:cubicBezTo>
                    <a:pt x="411" y="77"/>
                    <a:pt x="380" y="74"/>
                    <a:pt x="353" y="74"/>
                  </a:cubicBezTo>
                  <a:cubicBezTo>
                    <a:pt x="301" y="74"/>
                    <a:pt x="260" y="85"/>
                    <a:pt x="231" y="106"/>
                  </a:cubicBezTo>
                  <a:cubicBezTo>
                    <a:pt x="197" y="130"/>
                    <a:pt x="171" y="173"/>
                    <a:pt x="152" y="233"/>
                  </a:cubicBezTo>
                  <a:cubicBezTo>
                    <a:pt x="135" y="287"/>
                    <a:pt x="126" y="348"/>
                    <a:pt x="126" y="419"/>
                  </a:cubicBezTo>
                  <a:cubicBezTo>
                    <a:pt x="126" y="517"/>
                    <a:pt x="142" y="589"/>
                    <a:pt x="174" y="633"/>
                  </a:cubicBezTo>
                  <a:cubicBezTo>
                    <a:pt x="199" y="669"/>
                    <a:pt x="233" y="687"/>
                    <a:pt x="274" y="687"/>
                  </a:cubicBezTo>
                  <a:cubicBezTo>
                    <a:pt x="308" y="687"/>
                    <a:pt x="341" y="676"/>
                    <a:pt x="371" y="654"/>
                  </a:cubicBezTo>
                  <a:cubicBezTo>
                    <a:pt x="401" y="631"/>
                    <a:pt x="423" y="602"/>
                    <a:pt x="435" y="566"/>
                  </a:cubicBezTo>
                  <a:cubicBezTo>
                    <a:pt x="442" y="547"/>
                    <a:pt x="445" y="520"/>
                    <a:pt x="445" y="483"/>
                  </a:cubicBezTo>
                  <a:lnTo>
                    <a:pt x="445" y="8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362515" name="Freeform 19"/>
            <p:cNvSpPr>
              <a:spLocks/>
            </p:cNvSpPr>
            <p:nvPr userDrawn="1"/>
          </p:nvSpPr>
          <p:spPr bwMode="gray">
            <a:xfrm>
              <a:off x="5082" y="483"/>
              <a:ext cx="15" cy="44"/>
            </a:xfrm>
            <a:custGeom>
              <a:avLst/>
              <a:gdLst>
                <a:gd name="T0" fmla="*/ 0 w 318"/>
                <a:gd name="T1" fmla="*/ 0 h 917"/>
                <a:gd name="T2" fmla="*/ 124 w 318"/>
                <a:gd name="T3" fmla="*/ 0 h 917"/>
                <a:gd name="T4" fmla="*/ 124 w 318"/>
                <a:gd name="T5" fmla="*/ 195 h 917"/>
                <a:gd name="T6" fmla="*/ 318 w 318"/>
                <a:gd name="T7" fmla="*/ 195 h 917"/>
                <a:gd name="T8" fmla="*/ 318 w 318"/>
                <a:gd name="T9" fmla="*/ 273 h 917"/>
                <a:gd name="T10" fmla="*/ 124 w 318"/>
                <a:gd name="T11" fmla="*/ 273 h 917"/>
                <a:gd name="T12" fmla="*/ 124 w 318"/>
                <a:gd name="T13" fmla="*/ 656 h 917"/>
                <a:gd name="T14" fmla="*/ 156 w 318"/>
                <a:gd name="T15" fmla="*/ 804 h 917"/>
                <a:gd name="T16" fmla="*/ 225 w 318"/>
                <a:gd name="T17" fmla="*/ 836 h 917"/>
                <a:gd name="T18" fmla="*/ 277 w 318"/>
                <a:gd name="T19" fmla="*/ 838 h 917"/>
                <a:gd name="T20" fmla="*/ 318 w 318"/>
                <a:gd name="T21" fmla="*/ 838 h 917"/>
                <a:gd name="T22" fmla="*/ 318 w 318"/>
                <a:gd name="T23" fmla="*/ 917 h 917"/>
                <a:gd name="T24" fmla="*/ 251 w 318"/>
                <a:gd name="T25" fmla="*/ 917 h 917"/>
                <a:gd name="T26" fmla="*/ 127 w 318"/>
                <a:gd name="T27" fmla="*/ 904 h 917"/>
                <a:gd name="T28" fmla="*/ 11 w 318"/>
                <a:gd name="T29" fmla="*/ 782 h 917"/>
                <a:gd name="T30" fmla="*/ 0 w 318"/>
                <a:gd name="T31" fmla="*/ 638 h 917"/>
                <a:gd name="T32" fmla="*/ 0 w 318"/>
                <a:gd name="T33" fmla="*/ 0 h 9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8" h="917">
                  <a:moveTo>
                    <a:pt x="0" y="0"/>
                  </a:moveTo>
                  <a:cubicBezTo>
                    <a:pt x="124" y="0"/>
                    <a:pt x="124" y="0"/>
                    <a:pt x="124" y="0"/>
                  </a:cubicBezTo>
                  <a:cubicBezTo>
                    <a:pt x="124" y="195"/>
                    <a:pt x="124" y="195"/>
                    <a:pt x="124" y="195"/>
                  </a:cubicBezTo>
                  <a:cubicBezTo>
                    <a:pt x="318" y="195"/>
                    <a:pt x="318" y="195"/>
                    <a:pt x="318" y="195"/>
                  </a:cubicBezTo>
                  <a:cubicBezTo>
                    <a:pt x="318" y="273"/>
                    <a:pt x="318" y="273"/>
                    <a:pt x="318" y="273"/>
                  </a:cubicBezTo>
                  <a:cubicBezTo>
                    <a:pt x="124" y="273"/>
                    <a:pt x="124" y="273"/>
                    <a:pt x="124" y="273"/>
                  </a:cubicBezTo>
                  <a:cubicBezTo>
                    <a:pt x="124" y="656"/>
                    <a:pt x="124" y="656"/>
                    <a:pt x="124" y="656"/>
                  </a:cubicBezTo>
                  <a:cubicBezTo>
                    <a:pt x="124" y="729"/>
                    <a:pt x="135" y="778"/>
                    <a:pt x="156" y="804"/>
                  </a:cubicBezTo>
                  <a:cubicBezTo>
                    <a:pt x="171" y="821"/>
                    <a:pt x="194" y="832"/>
                    <a:pt x="225" y="836"/>
                  </a:cubicBezTo>
                  <a:cubicBezTo>
                    <a:pt x="235" y="837"/>
                    <a:pt x="252" y="838"/>
                    <a:pt x="277" y="838"/>
                  </a:cubicBezTo>
                  <a:cubicBezTo>
                    <a:pt x="318" y="838"/>
                    <a:pt x="318" y="838"/>
                    <a:pt x="318" y="838"/>
                  </a:cubicBezTo>
                  <a:cubicBezTo>
                    <a:pt x="318" y="917"/>
                    <a:pt x="318" y="917"/>
                    <a:pt x="318" y="917"/>
                  </a:cubicBezTo>
                  <a:cubicBezTo>
                    <a:pt x="251" y="917"/>
                    <a:pt x="251" y="917"/>
                    <a:pt x="251" y="917"/>
                  </a:cubicBezTo>
                  <a:cubicBezTo>
                    <a:pt x="198" y="917"/>
                    <a:pt x="157" y="913"/>
                    <a:pt x="127" y="904"/>
                  </a:cubicBezTo>
                  <a:cubicBezTo>
                    <a:pt x="64" y="887"/>
                    <a:pt x="26" y="846"/>
                    <a:pt x="11" y="782"/>
                  </a:cubicBezTo>
                  <a:cubicBezTo>
                    <a:pt x="4" y="747"/>
                    <a:pt x="0" y="699"/>
                    <a:pt x="0" y="638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362516" name="Freeform 20"/>
            <p:cNvSpPr>
              <a:spLocks noEditPoints="1"/>
            </p:cNvSpPr>
            <p:nvPr userDrawn="1"/>
          </p:nvSpPr>
          <p:spPr bwMode="gray">
            <a:xfrm>
              <a:off x="5102" y="491"/>
              <a:ext cx="29" cy="37"/>
            </a:xfrm>
            <a:custGeom>
              <a:avLst/>
              <a:gdLst>
                <a:gd name="T0" fmla="*/ 304 w 607"/>
                <a:gd name="T1" fmla="*/ 0 h 762"/>
                <a:gd name="T2" fmla="*/ 534 w 607"/>
                <a:gd name="T3" fmla="*/ 103 h 762"/>
                <a:gd name="T4" fmla="*/ 607 w 607"/>
                <a:gd name="T5" fmla="*/ 381 h 762"/>
                <a:gd name="T6" fmla="*/ 534 w 607"/>
                <a:gd name="T7" fmla="*/ 659 h 762"/>
                <a:gd name="T8" fmla="*/ 304 w 607"/>
                <a:gd name="T9" fmla="*/ 762 h 762"/>
                <a:gd name="T10" fmla="*/ 0 w 607"/>
                <a:gd name="T11" fmla="*/ 375 h 762"/>
                <a:gd name="T12" fmla="*/ 73 w 607"/>
                <a:gd name="T13" fmla="*/ 103 h 762"/>
                <a:gd name="T14" fmla="*/ 304 w 607"/>
                <a:gd name="T15" fmla="*/ 0 h 762"/>
                <a:gd name="T16" fmla="*/ 304 w 607"/>
                <a:gd name="T17" fmla="*/ 74 h 762"/>
                <a:gd name="T18" fmla="*/ 159 w 607"/>
                <a:gd name="T19" fmla="*/ 168 h 762"/>
                <a:gd name="T20" fmla="*/ 126 w 607"/>
                <a:gd name="T21" fmla="*/ 377 h 762"/>
                <a:gd name="T22" fmla="*/ 159 w 607"/>
                <a:gd name="T23" fmla="*/ 593 h 762"/>
                <a:gd name="T24" fmla="*/ 304 w 607"/>
                <a:gd name="T25" fmla="*/ 687 h 762"/>
                <a:gd name="T26" fmla="*/ 448 w 607"/>
                <a:gd name="T27" fmla="*/ 593 h 762"/>
                <a:gd name="T28" fmla="*/ 481 w 607"/>
                <a:gd name="T29" fmla="*/ 380 h 762"/>
                <a:gd name="T30" fmla="*/ 448 w 607"/>
                <a:gd name="T31" fmla="*/ 168 h 762"/>
                <a:gd name="T32" fmla="*/ 304 w 607"/>
                <a:gd name="T33" fmla="*/ 74 h 7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4" y="762"/>
                  </a:cubicBezTo>
                  <a:cubicBezTo>
                    <a:pt x="101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6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6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362517" name="Freeform 21"/>
            <p:cNvSpPr>
              <a:spLocks/>
            </p:cNvSpPr>
            <p:nvPr userDrawn="1"/>
          </p:nvSpPr>
          <p:spPr bwMode="gray">
            <a:xfrm>
              <a:off x="5140" y="491"/>
              <a:ext cx="45" cy="36"/>
            </a:xfrm>
            <a:custGeom>
              <a:avLst/>
              <a:gdLst>
                <a:gd name="T0" fmla="*/ 0 w 933"/>
                <a:gd name="T1" fmla="*/ 742 h 742"/>
                <a:gd name="T2" fmla="*/ 0 w 933"/>
                <a:gd name="T3" fmla="*/ 28 h 742"/>
                <a:gd name="T4" fmla="*/ 267 w 933"/>
                <a:gd name="T5" fmla="*/ 0 h 742"/>
                <a:gd name="T6" fmla="*/ 460 w 933"/>
                <a:gd name="T7" fmla="*/ 46 h 742"/>
                <a:gd name="T8" fmla="*/ 691 w 933"/>
                <a:gd name="T9" fmla="*/ 0 h 742"/>
                <a:gd name="T10" fmla="*/ 912 w 933"/>
                <a:gd name="T11" fmla="*/ 114 h 742"/>
                <a:gd name="T12" fmla="*/ 933 w 933"/>
                <a:gd name="T13" fmla="*/ 299 h 742"/>
                <a:gd name="T14" fmla="*/ 933 w 933"/>
                <a:gd name="T15" fmla="*/ 742 h 742"/>
                <a:gd name="T16" fmla="*/ 809 w 933"/>
                <a:gd name="T17" fmla="*/ 742 h 742"/>
                <a:gd name="T18" fmla="*/ 809 w 933"/>
                <a:gd name="T19" fmla="*/ 306 h 742"/>
                <a:gd name="T20" fmla="*/ 790 w 933"/>
                <a:gd name="T21" fmla="*/ 135 h 742"/>
                <a:gd name="T22" fmla="*/ 675 w 933"/>
                <a:gd name="T23" fmla="*/ 74 h 742"/>
                <a:gd name="T24" fmla="*/ 528 w 933"/>
                <a:gd name="T25" fmla="*/ 108 h 742"/>
                <a:gd name="T26" fmla="*/ 528 w 933"/>
                <a:gd name="T27" fmla="*/ 742 h 742"/>
                <a:gd name="T28" fmla="*/ 405 w 933"/>
                <a:gd name="T29" fmla="*/ 742 h 742"/>
                <a:gd name="T30" fmla="*/ 405 w 933"/>
                <a:gd name="T31" fmla="*/ 301 h 742"/>
                <a:gd name="T32" fmla="*/ 385 w 933"/>
                <a:gd name="T33" fmla="*/ 135 h 742"/>
                <a:gd name="T34" fmla="*/ 267 w 933"/>
                <a:gd name="T35" fmla="*/ 74 h 742"/>
                <a:gd name="T36" fmla="*/ 124 w 933"/>
                <a:gd name="T37" fmla="*/ 90 h 742"/>
                <a:gd name="T38" fmla="*/ 124 w 933"/>
                <a:gd name="T39" fmla="*/ 742 h 742"/>
                <a:gd name="T40" fmla="*/ 0 w 933"/>
                <a:gd name="T41" fmla="*/ 742 h 7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33" h="742">
                  <a:moveTo>
                    <a:pt x="0" y="742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113" y="9"/>
                    <a:pt x="202" y="0"/>
                    <a:pt x="267" y="0"/>
                  </a:cubicBezTo>
                  <a:cubicBezTo>
                    <a:pt x="352" y="0"/>
                    <a:pt x="417" y="15"/>
                    <a:pt x="460" y="46"/>
                  </a:cubicBezTo>
                  <a:cubicBezTo>
                    <a:pt x="538" y="15"/>
                    <a:pt x="615" y="0"/>
                    <a:pt x="691" y="0"/>
                  </a:cubicBezTo>
                  <a:cubicBezTo>
                    <a:pt x="808" y="0"/>
                    <a:pt x="881" y="38"/>
                    <a:pt x="912" y="114"/>
                  </a:cubicBezTo>
                  <a:cubicBezTo>
                    <a:pt x="926" y="149"/>
                    <a:pt x="933" y="211"/>
                    <a:pt x="933" y="299"/>
                  </a:cubicBezTo>
                  <a:cubicBezTo>
                    <a:pt x="933" y="742"/>
                    <a:pt x="933" y="742"/>
                    <a:pt x="933" y="742"/>
                  </a:cubicBezTo>
                  <a:cubicBezTo>
                    <a:pt x="809" y="742"/>
                    <a:pt x="809" y="742"/>
                    <a:pt x="809" y="742"/>
                  </a:cubicBezTo>
                  <a:cubicBezTo>
                    <a:pt x="809" y="306"/>
                    <a:pt x="809" y="306"/>
                    <a:pt x="809" y="306"/>
                  </a:cubicBezTo>
                  <a:cubicBezTo>
                    <a:pt x="809" y="222"/>
                    <a:pt x="803" y="164"/>
                    <a:pt x="790" y="135"/>
                  </a:cubicBezTo>
                  <a:cubicBezTo>
                    <a:pt x="771" y="94"/>
                    <a:pt x="733" y="74"/>
                    <a:pt x="675" y="74"/>
                  </a:cubicBezTo>
                  <a:cubicBezTo>
                    <a:pt x="627" y="74"/>
                    <a:pt x="578" y="86"/>
                    <a:pt x="528" y="108"/>
                  </a:cubicBezTo>
                  <a:cubicBezTo>
                    <a:pt x="528" y="742"/>
                    <a:pt x="528" y="742"/>
                    <a:pt x="528" y="742"/>
                  </a:cubicBezTo>
                  <a:cubicBezTo>
                    <a:pt x="405" y="742"/>
                    <a:pt x="405" y="742"/>
                    <a:pt x="405" y="742"/>
                  </a:cubicBezTo>
                  <a:cubicBezTo>
                    <a:pt x="405" y="301"/>
                    <a:pt x="405" y="301"/>
                    <a:pt x="405" y="301"/>
                  </a:cubicBezTo>
                  <a:cubicBezTo>
                    <a:pt x="405" y="219"/>
                    <a:pt x="398" y="164"/>
                    <a:pt x="385" y="135"/>
                  </a:cubicBezTo>
                  <a:cubicBezTo>
                    <a:pt x="366" y="94"/>
                    <a:pt x="327" y="74"/>
                    <a:pt x="267" y="74"/>
                  </a:cubicBezTo>
                  <a:cubicBezTo>
                    <a:pt x="221" y="74"/>
                    <a:pt x="173" y="80"/>
                    <a:pt x="124" y="90"/>
                  </a:cubicBezTo>
                  <a:cubicBezTo>
                    <a:pt x="124" y="742"/>
                    <a:pt x="124" y="742"/>
                    <a:pt x="124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362518" name="Freeform 22"/>
            <p:cNvSpPr>
              <a:spLocks noEditPoints="1"/>
            </p:cNvSpPr>
            <p:nvPr userDrawn="1"/>
          </p:nvSpPr>
          <p:spPr bwMode="gray">
            <a:xfrm>
              <a:off x="5193" y="491"/>
              <a:ext cx="29" cy="37"/>
            </a:xfrm>
            <a:custGeom>
              <a:avLst/>
              <a:gdLst>
                <a:gd name="T0" fmla="*/ 304 w 607"/>
                <a:gd name="T1" fmla="*/ 0 h 762"/>
                <a:gd name="T2" fmla="*/ 534 w 607"/>
                <a:gd name="T3" fmla="*/ 103 h 762"/>
                <a:gd name="T4" fmla="*/ 607 w 607"/>
                <a:gd name="T5" fmla="*/ 381 h 762"/>
                <a:gd name="T6" fmla="*/ 534 w 607"/>
                <a:gd name="T7" fmla="*/ 659 h 762"/>
                <a:gd name="T8" fmla="*/ 304 w 607"/>
                <a:gd name="T9" fmla="*/ 762 h 762"/>
                <a:gd name="T10" fmla="*/ 0 w 607"/>
                <a:gd name="T11" fmla="*/ 375 h 762"/>
                <a:gd name="T12" fmla="*/ 73 w 607"/>
                <a:gd name="T13" fmla="*/ 103 h 762"/>
                <a:gd name="T14" fmla="*/ 304 w 607"/>
                <a:gd name="T15" fmla="*/ 0 h 762"/>
                <a:gd name="T16" fmla="*/ 304 w 607"/>
                <a:gd name="T17" fmla="*/ 74 h 762"/>
                <a:gd name="T18" fmla="*/ 159 w 607"/>
                <a:gd name="T19" fmla="*/ 168 h 762"/>
                <a:gd name="T20" fmla="*/ 126 w 607"/>
                <a:gd name="T21" fmla="*/ 377 h 762"/>
                <a:gd name="T22" fmla="*/ 159 w 607"/>
                <a:gd name="T23" fmla="*/ 593 h 762"/>
                <a:gd name="T24" fmla="*/ 304 w 607"/>
                <a:gd name="T25" fmla="*/ 687 h 762"/>
                <a:gd name="T26" fmla="*/ 448 w 607"/>
                <a:gd name="T27" fmla="*/ 593 h 762"/>
                <a:gd name="T28" fmla="*/ 481 w 607"/>
                <a:gd name="T29" fmla="*/ 380 h 762"/>
                <a:gd name="T30" fmla="*/ 448 w 607"/>
                <a:gd name="T31" fmla="*/ 168 h 762"/>
                <a:gd name="T32" fmla="*/ 304 w 607"/>
                <a:gd name="T33" fmla="*/ 74 h 7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4" y="762"/>
                  </a:cubicBezTo>
                  <a:cubicBezTo>
                    <a:pt x="101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6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6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362519" name="Freeform 23"/>
            <p:cNvSpPr>
              <a:spLocks/>
            </p:cNvSpPr>
            <p:nvPr userDrawn="1"/>
          </p:nvSpPr>
          <p:spPr bwMode="gray">
            <a:xfrm>
              <a:off x="5230" y="491"/>
              <a:ext cx="16" cy="36"/>
            </a:xfrm>
            <a:custGeom>
              <a:avLst/>
              <a:gdLst>
                <a:gd name="T0" fmla="*/ 0 w 312"/>
                <a:gd name="T1" fmla="*/ 742 h 742"/>
                <a:gd name="T2" fmla="*/ 0 w 312"/>
                <a:gd name="T3" fmla="*/ 31 h 742"/>
                <a:gd name="T4" fmla="*/ 312 w 312"/>
                <a:gd name="T5" fmla="*/ 0 h 742"/>
                <a:gd name="T6" fmla="*/ 312 w 312"/>
                <a:gd name="T7" fmla="*/ 77 h 742"/>
                <a:gd name="T8" fmla="*/ 124 w 312"/>
                <a:gd name="T9" fmla="*/ 90 h 742"/>
                <a:gd name="T10" fmla="*/ 124 w 312"/>
                <a:gd name="T11" fmla="*/ 742 h 742"/>
                <a:gd name="T12" fmla="*/ 0 w 312"/>
                <a:gd name="T13" fmla="*/ 742 h 7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2" h="742">
                  <a:moveTo>
                    <a:pt x="0" y="742"/>
                  </a:moveTo>
                  <a:cubicBezTo>
                    <a:pt x="0" y="31"/>
                    <a:pt x="0" y="31"/>
                    <a:pt x="0" y="31"/>
                  </a:cubicBezTo>
                  <a:cubicBezTo>
                    <a:pt x="94" y="11"/>
                    <a:pt x="198" y="1"/>
                    <a:pt x="312" y="0"/>
                  </a:cubicBezTo>
                  <a:cubicBezTo>
                    <a:pt x="312" y="77"/>
                    <a:pt x="312" y="77"/>
                    <a:pt x="312" y="77"/>
                  </a:cubicBezTo>
                  <a:cubicBezTo>
                    <a:pt x="243" y="78"/>
                    <a:pt x="180" y="82"/>
                    <a:pt x="124" y="90"/>
                  </a:cubicBezTo>
                  <a:cubicBezTo>
                    <a:pt x="124" y="742"/>
                    <a:pt x="124" y="742"/>
                    <a:pt x="124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362520" name="Freeform 24"/>
            <p:cNvSpPr>
              <a:spLocks/>
            </p:cNvSpPr>
            <p:nvPr userDrawn="1"/>
          </p:nvSpPr>
          <p:spPr bwMode="gray">
            <a:xfrm>
              <a:off x="5252" y="491"/>
              <a:ext cx="15" cy="36"/>
            </a:xfrm>
            <a:custGeom>
              <a:avLst/>
              <a:gdLst>
                <a:gd name="T0" fmla="*/ 0 w 312"/>
                <a:gd name="T1" fmla="*/ 742 h 742"/>
                <a:gd name="T2" fmla="*/ 0 w 312"/>
                <a:gd name="T3" fmla="*/ 31 h 742"/>
                <a:gd name="T4" fmla="*/ 312 w 312"/>
                <a:gd name="T5" fmla="*/ 0 h 742"/>
                <a:gd name="T6" fmla="*/ 312 w 312"/>
                <a:gd name="T7" fmla="*/ 77 h 742"/>
                <a:gd name="T8" fmla="*/ 124 w 312"/>
                <a:gd name="T9" fmla="*/ 90 h 742"/>
                <a:gd name="T10" fmla="*/ 124 w 312"/>
                <a:gd name="T11" fmla="*/ 742 h 742"/>
                <a:gd name="T12" fmla="*/ 0 w 312"/>
                <a:gd name="T13" fmla="*/ 742 h 7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2" h="742">
                  <a:moveTo>
                    <a:pt x="0" y="742"/>
                  </a:moveTo>
                  <a:cubicBezTo>
                    <a:pt x="0" y="31"/>
                    <a:pt x="0" y="31"/>
                    <a:pt x="0" y="31"/>
                  </a:cubicBezTo>
                  <a:cubicBezTo>
                    <a:pt x="94" y="11"/>
                    <a:pt x="198" y="1"/>
                    <a:pt x="312" y="0"/>
                  </a:cubicBezTo>
                  <a:cubicBezTo>
                    <a:pt x="312" y="77"/>
                    <a:pt x="312" y="77"/>
                    <a:pt x="312" y="77"/>
                  </a:cubicBezTo>
                  <a:cubicBezTo>
                    <a:pt x="243" y="78"/>
                    <a:pt x="180" y="82"/>
                    <a:pt x="124" y="90"/>
                  </a:cubicBezTo>
                  <a:cubicBezTo>
                    <a:pt x="124" y="742"/>
                    <a:pt x="124" y="742"/>
                    <a:pt x="124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362521" name="Freeform 25"/>
            <p:cNvSpPr>
              <a:spLocks noEditPoints="1"/>
            </p:cNvSpPr>
            <p:nvPr userDrawn="1"/>
          </p:nvSpPr>
          <p:spPr bwMode="gray">
            <a:xfrm>
              <a:off x="5271" y="491"/>
              <a:ext cx="29" cy="37"/>
            </a:xfrm>
            <a:custGeom>
              <a:avLst/>
              <a:gdLst>
                <a:gd name="T0" fmla="*/ 304 w 607"/>
                <a:gd name="T1" fmla="*/ 0 h 762"/>
                <a:gd name="T2" fmla="*/ 534 w 607"/>
                <a:gd name="T3" fmla="*/ 103 h 762"/>
                <a:gd name="T4" fmla="*/ 607 w 607"/>
                <a:gd name="T5" fmla="*/ 381 h 762"/>
                <a:gd name="T6" fmla="*/ 534 w 607"/>
                <a:gd name="T7" fmla="*/ 659 h 762"/>
                <a:gd name="T8" fmla="*/ 305 w 607"/>
                <a:gd name="T9" fmla="*/ 762 h 762"/>
                <a:gd name="T10" fmla="*/ 0 w 607"/>
                <a:gd name="T11" fmla="*/ 375 h 762"/>
                <a:gd name="T12" fmla="*/ 73 w 607"/>
                <a:gd name="T13" fmla="*/ 103 h 762"/>
                <a:gd name="T14" fmla="*/ 304 w 607"/>
                <a:gd name="T15" fmla="*/ 0 h 762"/>
                <a:gd name="T16" fmla="*/ 304 w 607"/>
                <a:gd name="T17" fmla="*/ 74 h 762"/>
                <a:gd name="T18" fmla="*/ 159 w 607"/>
                <a:gd name="T19" fmla="*/ 168 h 762"/>
                <a:gd name="T20" fmla="*/ 126 w 607"/>
                <a:gd name="T21" fmla="*/ 377 h 762"/>
                <a:gd name="T22" fmla="*/ 159 w 607"/>
                <a:gd name="T23" fmla="*/ 593 h 762"/>
                <a:gd name="T24" fmla="*/ 304 w 607"/>
                <a:gd name="T25" fmla="*/ 687 h 762"/>
                <a:gd name="T26" fmla="*/ 448 w 607"/>
                <a:gd name="T27" fmla="*/ 593 h 762"/>
                <a:gd name="T28" fmla="*/ 481 w 607"/>
                <a:gd name="T29" fmla="*/ 380 h 762"/>
                <a:gd name="T30" fmla="*/ 448 w 607"/>
                <a:gd name="T31" fmla="*/ 168 h 762"/>
                <a:gd name="T32" fmla="*/ 304 w 607"/>
                <a:gd name="T33" fmla="*/ 74 h 7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5" y="762"/>
                  </a:cubicBezTo>
                  <a:cubicBezTo>
                    <a:pt x="102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6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6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362522" name="Freeform 26"/>
            <p:cNvSpPr>
              <a:spLocks/>
            </p:cNvSpPr>
            <p:nvPr userDrawn="1"/>
          </p:nvSpPr>
          <p:spPr bwMode="gray">
            <a:xfrm>
              <a:off x="5304" y="492"/>
              <a:ext cx="45" cy="35"/>
            </a:xfrm>
            <a:custGeom>
              <a:avLst/>
              <a:gdLst>
                <a:gd name="T0" fmla="*/ 204 w 929"/>
                <a:gd name="T1" fmla="*/ 722 h 722"/>
                <a:gd name="T2" fmla="*/ 0 w 929"/>
                <a:gd name="T3" fmla="*/ 0 h 722"/>
                <a:gd name="T4" fmla="*/ 124 w 929"/>
                <a:gd name="T5" fmla="*/ 0 h 722"/>
                <a:gd name="T6" fmla="*/ 277 w 929"/>
                <a:gd name="T7" fmla="*/ 588 h 722"/>
                <a:gd name="T8" fmla="*/ 412 w 929"/>
                <a:gd name="T9" fmla="*/ 0 h 722"/>
                <a:gd name="T10" fmla="*/ 534 w 929"/>
                <a:gd name="T11" fmla="*/ 0 h 722"/>
                <a:gd name="T12" fmla="*/ 676 w 929"/>
                <a:gd name="T13" fmla="*/ 588 h 722"/>
                <a:gd name="T14" fmla="*/ 828 w 929"/>
                <a:gd name="T15" fmla="*/ 0 h 722"/>
                <a:gd name="T16" fmla="*/ 929 w 929"/>
                <a:gd name="T17" fmla="*/ 0 h 722"/>
                <a:gd name="T18" fmla="*/ 726 w 929"/>
                <a:gd name="T19" fmla="*/ 722 h 722"/>
                <a:gd name="T20" fmla="*/ 603 w 929"/>
                <a:gd name="T21" fmla="*/ 722 h 722"/>
                <a:gd name="T22" fmla="*/ 495 w 929"/>
                <a:gd name="T23" fmla="*/ 255 h 722"/>
                <a:gd name="T24" fmla="*/ 468 w 929"/>
                <a:gd name="T25" fmla="*/ 107 h 722"/>
                <a:gd name="T26" fmla="*/ 440 w 929"/>
                <a:gd name="T27" fmla="*/ 254 h 722"/>
                <a:gd name="T28" fmla="*/ 332 w 929"/>
                <a:gd name="T29" fmla="*/ 722 h 722"/>
                <a:gd name="T30" fmla="*/ 204 w 929"/>
                <a:gd name="T31" fmla="*/ 722 h 7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29" h="722">
                  <a:moveTo>
                    <a:pt x="204" y="722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277" y="588"/>
                    <a:pt x="277" y="588"/>
                    <a:pt x="277" y="588"/>
                  </a:cubicBezTo>
                  <a:cubicBezTo>
                    <a:pt x="412" y="0"/>
                    <a:pt x="412" y="0"/>
                    <a:pt x="412" y="0"/>
                  </a:cubicBezTo>
                  <a:cubicBezTo>
                    <a:pt x="534" y="0"/>
                    <a:pt x="534" y="0"/>
                    <a:pt x="534" y="0"/>
                  </a:cubicBezTo>
                  <a:cubicBezTo>
                    <a:pt x="676" y="588"/>
                    <a:pt x="676" y="588"/>
                    <a:pt x="676" y="588"/>
                  </a:cubicBezTo>
                  <a:cubicBezTo>
                    <a:pt x="828" y="0"/>
                    <a:pt x="828" y="0"/>
                    <a:pt x="828" y="0"/>
                  </a:cubicBezTo>
                  <a:cubicBezTo>
                    <a:pt x="929" y="0"/>
                    <a:pt x="929" y="0"/>
                    <a:pt x="929" y="0"/>
                  </a:cubicBezTo>
                  <a:cubicBezTo>
                    <a:pt x="726" y="722"/>
                    <a:pt x="726" y="722"/>
                    <a:pt x="726" y="722"/>
                  </a:cubicBezTo>
                  <a:cubicBezTo>
                    <a:pt x="603" y="722"/>
                    <a:pt x="603" y="722"/>
                    <a:pt x="603" y="722"/>
                  </a:cubicBezTo>
                  <a:cubicBezTo>
                    <a:pt x="495" y="255"/>
                    <a:pt x="495" y="255"/>
                    <a:pt x="495" y="255"/>
                  </a:cubicBezTo>
                  <a:cubicBezTo>
                    <a:pt x="487" y="221"/>
                    <a:pt x="478" y="172"/>
                    <a:pt x="468" y="107"/>
                  </a:cubicBezTo>
                  <a:cubicBezTo>
                    <a:pt x="460" y="159"/>
                    <a:pt x="451" y="208"/>
                    <a:pt x="440" y="254"/>
                  </a:cubicBezTo>
                  <a:cubicBezTo>
                    <a:pt x="332" y="722"/>
                    <a:pt x="332" y="722"/>
                    <a:pt x="332" y="722"/>
                  </a:cubicBezTo>
                  <a:lnTo>
                    <a:pt x="204" y="7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362523" name="Freeform 27"/>
            <p:cNvSpPr>
              <a:spLocks/>
            </p:cNvSpPr>
            <p:nvPr userDrawn="1"/>
          </p:nvSpPr>
          <p:spPr bwMode="gray">
            <a:xfrm>
              <a:off x="5366" y="492"/>
              <a:ext cx="45" cy="35"/>
            </a:xfrm>
            <a:custGeom>
              <a:avLst/>
              <a:gdLst>
                <a:gd name="T0" fmla="*/ 204 w 930"/>
                <a:gd name="T1" fmla="*/ 722 h 722"/>
                <a:gd name="T2" fmla="*/ 0 w 930"/>
                <a:gd name="T3" fmla="*/ 0 h 722"/>
                <a:gd name="T4" fmla="*/ 125 w 930"/>
                <a:gd name="T5" fmla="*/ 0 h 722"/>
                <a:gd name="T6" fmla="*/ 277 w 930"/>
                <a:gd name="T7" fmla="*/ 588 h 722"/>
                <a:gd name="T8" fmla="*/ 412 w 930"/>
                <a:gd name="T9" fmla="*/ 0 h 722"/>
                <a:gd name="T10" fmla="*/ 535 w 930"/>
                <a:gd name="T11" fmla="*/ 0 h 722"/>
                <a:gd name="T12" fmla="*/ 676 w 930"/>
                <a:gd name="T13" fmla="*/ 588 h 722"/>
                <a:gd name="T14" fmla="*/ 829 w 930"/>
                <a:gd name="T15" fmla="*/ 0 h 722"/>
                <a:gd name="T16" fmla="*/ 930 w 930"/>
                <a:gd name="T17" fmla="*/ 0 h 722"/>
                <a:gd name="T18" fmla="*/ 726 w 930"/>
                <a:gd name="T19" fmla="*/ 722 h 722"/>
                <a:gd name="T20" fmla="*/ 604 w 930"/>
                <a:gd name="T21" fmla="*/ 722 h 722"/>
                <a:gd name="T22" fmla="*/ 495 w 930"/>
                <a:gd name="T23" fmla="*/ 255 h 722"/>
                <a:gd name="T24" fmla="*/ 468 w 930"/>
                <a:gd name="T25" fmla="*/ 107 h 722"/>
                <a:gd name="T26" fmla="*/ 441 w 930"/>
                <a:gd name="T27" fmla="*/ 254 h 722"/>
                <a:gd name="T28" fmla="*/ 332 w 930"/>
                <a:gd name="T29" fmla="*/ 722 h 722"/>
                <a:gd name="T30" fmla="*/ 204 w 930"/>
                <a:gd name="T31" fmla="*/ 722 h 7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30" h="722">
                  <a:moveTo>
                    <a:pt x="204" y="722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277" y="588"/>
                    <a:pt x="277" y="588"/>
                    <a:pt x="277" y="588"/>
                  </a:cubicBezTo>
                  <a:cubicBezTo>
                    <a:pt x="412" y="0"/>
                    <a:pt x="412" y="0"/>
                    <a:pt x="412" y="0"/>
                  </a:cubicBezTo>
                  <a:cubicBezTo>
                    <a:pt x="535" y="0"/>
                    <a:pt x="535" y="0"/>
                    <a:pt x="535" y="0"/>
                  </a:cubicBezTo>
                  <a:cubicBezTo>
                    <a:pt x="676" y="588"/>
                    <a:pt x="676" y="588"/>
                    <a:pt x="676" y="588"/>
                  </a:cubicBezTo>
                  <a:cubicBezTo>
                    <a:pt x="829" y="0"/>
                    <a:pt x="829" y="0"/>
                    <a:pt x="829" y="0"/>
                  </a:cubicBezTo>
                  <a:cubicBezTo>
                    <a:pt x="930" y="0"/>
                    <a:pt x="930" y="0"/>
                    <a:pt x="930" y="0"/>
                  </a:cubicBezTo>
                  <a:cubicBezTo>
                    <a:pt x="726" y="722"/>
                    <a:pt x="726" y="722"/>
                    <a:pt x="726" y="722"/>
                  </a:cubicBezTo>
                  <a:cubicBezTo>
                    <a:pt x="604" y="722"/>
                    <a:pt x="604" y="722"/>
                    <a:pt x="604" y="722"/>
                  </a:cubicBezTo>
                  <a:cubicBezTo>
                    <a:pt x="495" y="255"/>
                    <a:pt x="495" y="255"/>
                    <a:pt x="495" y="255"/>
                  </a:cubicBezTo>
                  <a:cubicBezTo>
                    <a:pt x="488" y="221"/>
                    <a:pt x="479" y="172"/>
                    <a:pt x="468" y="107"/>
                  </a:cubicBezTo>
                  <a:cubicBezTo>
                    <a:pt x="460" y="159"/>
                    <a:pt x="451" y="208"/>
                    <a:pt x="441" y="254"/>
                  </a:cubicBezTo>
                  <a:cubicBezTo>
                    <a:pt x="332" y="722"/>
                    <a:pt x="332" y="722"/>
                    <a:pt x="332" y="722"/>
                  </a:cubicBezTo>
                  <a:lnTo>
                    <a:pt x="204" y="7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362524" name="Freeform 28"/>
            <p:cNvSpPr>
              <a:spLocks noEditPoints="1"/>
            </p:cNvSpPr>
            <p:nvPr userDrawn="1"/>
          </p:nvSpPr>
          <p:spPr bwMode="gray">
            <a:xfrm>
              <a:off x="5417" y="479"/>
              <a:ext cx="7" cy="48"/>
            </a:xfrm>
            <a:custGeom>
              <a:avLst/>
              <a:gdLst>
                <a:gd name="T0" fmla="*/ 76 w 151"/>
                <a:gd name="T1" fmla="*/ 0 h 987"/>
                <a:gd name="T2" fmla="*/ 132 w 151"/>
                <a:gd name="T3" fmla="*/ 25 h 987"/>
                <a:gd name="T4" fmla="*/ 151 w 151"/>
                <a:gd name="T5" fmla="*/ 76 h 987"/>
                <a:gd name="T6" fmla="*/ 126 w 151"/>
                <a:gd name="T7" fmla="*/ 132 h 987"/>
                <a:gd name="T8" fmla="*/ 75 w 151"/>
                <a:gd name="T9" fmla="*/ 151 h 987"/>
                <a:gd name="T10" fmla="*/ 20 w 151"/>
                <a:gd name="T11" fmla="*/ 127 h 987"/>
                <a:gd name="T12" fmla="*/ 0 w 151"/>
                <a:gd name="T13" fmla="*/ 75 h 987"/>
                <a:gd name="T14" fmla="*/ 25 w 151"/>
                <a:gd name="T15" fmla="*/ 20 h 987"/>
                <a:gd name="T16" fmla="*/ 76 w 151"/>
                <a:gd name="T17" fmla="*/ 0 h 987"/>
                <a:gd name="T18" fmla="*/ 15 w 151"/>
                <a:gd name="T19" fmla="*/ 987 h 987"/>
                <a:gd name="T20" fmla="*/ 15 w 151"/>
                <a:gd name="T21" fmla="*/ 265 h 987"/>
                <a:gd name="T22" fmla="*/ 139 w 151"/>
                <a:gd name="T23" fmla="*/ 265 h 987"/>
                <a:gd name="T24" fmla="*/ 139 w 151"/>
                <a:gd name="T25" fmla="*/ 987 h 987"/>
                <a:gd name="T26" fmla="*/ 15 w 151"/>
                <a:gd name="T27" fmla="*/ 987 h 9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1" h="987">
                  <a:moveTo>
                    <a:pt x="76" y="0"/>
                  </a:moveTo>
                  <a:cubicBezTo>
                    <a:pt x="98" y="0"/>
                    <a:pt x="117" y="9"/>
                    <a:pt x="132" y="25"/>
                  </a:cubicBezTo>
                  <a:cubicBezTo>
                    <a:pt x="145" y="40"/>
                    <a:pt x="151" y="57"/>
                    <a:pt x="151" y="76"/>
                  </a:cubicBezTo>
                  <a:cubicBezTo>
                    <a:pt x="151" y="98"/>
                    <a:pt x="143" y="117"/>
                    <a:pt x="126" y="132"/>
                  </a:cubicBezTo>
                  <a:cubicBezTo>
                    <a:pt x="112" y="145"/>
                    <a:pt x="95" y="151"/>
                    <a:pt x="75" y="151"/>
                  </a:cubicBezTo>
                  <a:cubicBezTo>
                    <a:pt x="53" y="151"/>
                    <a:pt x="34" y="143"/>
                    <a:pt x="20" y="127"/>
                  </a:cubicBezTo>
                  <a:cubicBezTo>
                    <a:pt x="7" y="112"/>
                    <a:pt x="0" y="95"/>
                    <a:pt x="0" y="75"/>
                  </a:cubicBezTo>
                  <a:cubicBezTo>
                    <a:pt x="0" y="53"/>
                    <a:pt x="9" y="35"/>
                    <a:pt x="25" y="20"/>
                  </a:cubicBezTo>
                  <a:cubicBezTo>
                    <a:pt x="39" y="7"/>
                    <a:pt x="56" y="0"/>
                    <a:pt x="76" y="0"/>
                  </a:cubicBezTo>
                  <a:close/>
                  <a:moveTo>
                    <a:pt x="15" y="987"/>
                  </a:moveTo>
                  <a:cubicBezTo>
                    <a:pt x="15" y="265"/>
                    <a:pt x="15" y="265"/>
                    <a:pt x="15" y="265"/>
                  </a:cubicBezTo>
                  <a:cubicBezTo>
                    <a:pt x="139" y="265"/>
                    <a:pt x="139" y="265"/>
                    <a:pt x="139" y="265"/>
                  </a:cubicBezTo>
                  <a:cubicBezTo>
                    <a:pt x="139" y="987"/>
                    <a:pt x="139" y="987"/>
                    <a:pt x="139" y="987"/>
                  </a:cubicBezTo>
                  <a:lnTo>
                    <a:pt x="15" y="98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362525" name="Freeform 29"/>
            <p:cNvSpPr>
              <a:spLocks/>
            </p:cNvSpPr>
            <p:nvPr userDrawn="1"/>
          </p:nvSpPr>
          <p:spPr bwMode="gray">
            <a:xfrm>
              <a:off x="5435" y="483"/>
              <a:ext cx="15" cy="44"/>
            </a:xfrm>
            <a:custGeom>
              <a:avLst/>
              <a:gdLst>
                <a:gd name="T0" fmla="*/ 0 w 318"/>
                <a:gd name="T1" fmla="*/ 0 h 917"/>
                <a:gd name="T2" fmla="*/ 124 w 318"/>
                <a:gd name="T3" fmla="*/ 0 h 917"/>
                <a:gd name="T4" fmla="*/ 124 w 318"/>
                <a:gd name="T5" fmla="*/ 195 h 917"/>
                <a:gd name="T6" fmla="*/ 318 w 318"/>
                <a:gd name="T7" fmla="*/ 195 h 917"/>
                <a:gd name="T8" fmla="*/ 318 w 318"/>
                <a:gd name="T9" fmla="*/ 273 h 917"/>
                <a:gd name="T10" fmla="*/ 124 w 318"/>
                <a:gd name="T11" fmla="*/ 273 h 917"/>
                <a:gd name="T12" fmla="*/ 124 w 318"/>
                <a:gd name="T13" fmla="*/ 656 h 917"/>
                <a:gd name="T14" fmla="*/ 156 w 318"/>
                <a:gd name="T15" fmla="*/ 804 h 917"/>
                <a:gd name="T16" fmla="*/ 225 w 318"/>
                <a:gd name="T17" fmla="*/ 836 h 917"/>
                <a:gd name="T18" fmla="*/ 277 w 318"/>
                <a:gd name="T19" fmla="*/ 838 h 917"/>
                <a:gd name="T20" fmla="*/ 318 w 318"/>
                <a:gd name="T21" fmla="*/ 838 h 917"/>
                <a:gd name="T22" fmla="*/ 318 w 318"/>
                <a:gd name="T23" fmla="*/ 917 h 917"/>
                <a:gd name="T24" fmla="*/ 251 w 318"/>
                <a:gd name="T25" fmla="*/ 917 h 917"/>
                <a:gd name="T26" fmla="*/ 127 w 318"/>
                <a:gd name="T27" fmla="*/ 904 h 917"/>
                <a:gd name="T28" fmla="*/ 11 w 318"/>
                <a:gd name="T29" fmla="*/ 782 h 917"/>
                <a:gd name="T30" fmla="*/ 0 w 318"/>
                <a:gd name="T31" fmla="*/ 638 h 917"/>
                <a:gd name="T32" fmla="*/ 0 w 318"/>
                <a:gd name="T33" fmla="*/ 0 h 9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8" h="917">
                  <a:moveTo>
                    <a:pt x="0" y="0"/>
                  </a:moveTo>
                  <a:cubicBezTo>
                    <a:pt x="124" y="0"/>
                    <a:pt x="124" y="0"/>
                    <a:pt x="124" y="0"/>
                  </a:cubicBezTo>
                  <a:cubicBezTo>
                    <a:pt x="124" y="195"/>
                    <a:pt x="124" y="195"/>
                    <a:pt x="124" y="195"/>
                  </a:cubicBezTo>
                  <a:cubicBezTo>
                    <a:pt x="318" y="195"/>
                    <a:pt x="318" y="195"/>
                    <a:pt x="318" y="195"/>
                  </a:cubicBezTo>
                  <a:cubicBezTo>
                    <a:pt x="318" y="273"/>
                    <a:pt x="318" y="273"/>
                    <a:pt x="318" y="273"/>
                  </a:cubicBezTo>
                  <a:cubicBezTo>
                    <a:pt x="124" y="273"/>
                    <a:pt x="124" y="273"/>
                    <a:pt x="124" y="273"/>
                  </a:cubicBezTo>
                  <a:cubicBezTo>
                    <a:pt x="124" y="656"/>
                    <a:pt x="124" y="656"/>
                    <a:pt x="124" y="656"/>
                  </a:cubicBezTo>
                  <a:cubicBezTo>
                    <a:pt x="124" y="729"/>
                    <a:pt x="135" y="778"/>
                    <a:pt x="156" y="804"/>
                  </a:cubicBezTo>
                  <a:cubicBezTo>
                    <a:pt x="171" y="821"/>
                    <a:pt x="194" y="832"/>
                    <a:pt x="225" y="836"/>
                  </a:cubicBezTo>
                  <a:cubicBezTo>
                    <a:pt x="235" y="837"/>
                    <a:pt x="252" y="838"/>
                    <a:pt x="277" y="838"/>
                  </a:cubicBezTo>
                  <a:cubicBezTo>
                    <a:pt x="318" y="838"/>
                    <a:pt x="318" y="838"/>
                    <a:pt x="318" y="838"/>
                  </a:cubicBezTo>
                  <a:cubicBezTo>
                    <a:pt x="318" y="917"/>
                    <a:pt x="318" y="917"/>
                    <a:pt x="318" y="917"/>
                  </a:cubicBezTo>
                  <a:cubicBezTo>
                    <a:pt x="251" y="917"/>
                    <a:pt x="251" y="917"/>
                    <a:pt x="251" y="917"/>
                  </a:cubicBezTo>
                  <a:cubicBezTo>
                    <a:pt x="198" y="917"/>
                    <a:pt x="157" y="913"/>
                    <a:pt x="127" y="904"/>
                  </a:cubicBezTo>
                  <a:cubicBezTo>
                    <a:pt x="64" y="887"/>
                    <a:pt x="25" y="846"/>
                    <a:pt x="11" y="782"/>
                  </a:cubicBezTo>
                  <a:cubicBezTo>
                    <a:pt x="4" y="747"/>
                    <a:pt x="0" y="699"/>
                    <a:pt x="0" y="638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362526" name="Freeform 30"/>
            <p:cNvSpPr>
              <a:spLocks/>
            </p:cNvSpPr>
            <p:nvPr userDrawn="1"/>
          </p:nvSpPr>
          <p:spPr bwMode="gray">
            <a:xfrm>
              <a:off x="5457" y="475"/>
              <a:ext cx="26" cy="52"/>
            </a:xfrm>
            <a:custGeom>
              <a:avLst/>
              <a:gdLst>
                <a:gd name="T0" fmla="*/ 0 w 548"/>
                <a:gd name="T1" fmla="*/ 1087 h 1087"/>
                <a:gd name="T2" fmla="*/ 0 w 548"/>
                <a:gd name="T3" fmla="*/ 0 h 1087"/>
                <a:gd name="T4" fmla="*/ 124 w 548"/>
                <a:gd name="T5" fmla="*/ 0 h 1087"/>
                <a:gd name="T6" fmla="*/ 124 w 548"/>
                <a:gd name="T7" fmla="*/ 382 h 1087"/>
                <a:gd name="T8" fmla="*/ 306 w 548"/>
                <a:gd name="T9" fmla="*/ 345 h 1087"/>
                <a:gd name="T10" fmla="*/ 526 w 548"/>
                <a:gd name="T11" fmla="*/ 458 h 1087"/>
                <a:gd name="T12" fmla="*/ 548 w 548"/>
                <a:gd name="T13" fmla="*/ 644 h 1087"/>
                <a:gd name="T14" fmla="*/ 548 w 548"/>
                <a:gd name="T15" fmla="*/ 1087 h 1087"/>
                <a:gd name="T16" fmla="*/ 425 w 548"/>
                <a:gd name="T17" fmla="*/ 1087 h 1087"/>
                <a:gd name="T18" fmla="*/ 425 w 548"/>
                <a:gd name="T19" fmla="*/ 624 h 1087"/>
                <a:gd name="T20" fmla="*/ 403 w 548"/>
                <a:gd name="T21" fmla="*/ 477 h 1087"/>
                <a:gd name="T22" fmla="*/ 294 w 548"/>
                <a:gd name="T23" fmla="*/ 419 h 1087"/>
                <a:gd name="T24" fmla="*/ 124 w 548"/>
                <a:gd name="T25" fmla="*/ 463 h 1087"/>
                <a:gd name="T26" fmla="*/ 124 w 548"/>
                <a:gd name="T27" fmla="*/ 1087 h 1087"/>
                <a:gd name="T28" fmla="*/ 0 w 548"/>
                <a:gd name="T29" fmla="*/ 1087 h 10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48" h="1087">
                  <a:moveTo>
                    <a:pt x="0" y="108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24" y="382"/>
                    <a:pt x="124" y="382"/>
                    <a:pt x="124" y="382"/>
                  </a:cubicBezTo>
                  <a:cubicBezTo>
                    <a:pt x="188" y="357"/>
                    <a:pt x="249" y="345"/>
                    <a:pt x="306" y="345"/>
                  </a:cubicBezTo>
                  <a:cubicBezTo>
                    <a:pt x="420" y="345"/>
                    <a:pt x="493" y="382"/>
                    <a:pt x="526" y="458"/>
                  </a:cubicBezTo>
                  <a:cubicBezTo>
                    <a:pt x="541" y="492"/>
                    <a:pt x="548" y="554"/>
                    <a:pt x="548" y="644"/>
                  </a:cubicBezTo>
                  <a:cubicBezTo>
                    <a:pt x="548" y="1087"/>
                    <a:pt x="548" y="1087"/>
                    <a:pt x="548" y="1087"/>
                  </a:cubicBezTo>
                  <a:cubicBezTo>
                    <a:pt x="425" y="1087"/>
                    <a:pt x="425" y="1087"/>
                    <a:pt x="425" y="1087"/>
                  </a:cubicBezTo>
                  <a:cubicBezTo>
                    <a:pt x="425" y="624"/>
                    <a:pt x="425" y="624"/>
                    <a:pt x="425" y="624"/>
                  </a:cubicBezTo>
                  <a:cubicBezTo>
                    <a:pt x="425" y="555"/>
                    <a:pt x="418" y="506"/>
                    <a:pt x="403" y="477"/>
                  </a:cubicBezTo>
                  <a:cubicBezTo>
                    <a:pt x="384" y="439"/>
                    <a:pt x="347" y="419"/>
                    <a:pt x="294" y="419"/>
                  </a:cubicBezTo>
                  <a:cubicBezTo>
                    <a:pt x="245" y="419"/>
                    <a:pt x="189" y="434"/>
                    <a:pt x="124" y="463"/>
                  </a:cubicBezTo>
                  <a:cubicBezTo>
                    <a:pt x="124" y="1087"/>
                    <a:pt x="124" y="1087"/>
                    <a:pt x="124" y="1087"/>
                  </a:cubicBezTo>
                  <a:lnTo>
                    <a:pt x="0" y="108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362527" name="Freeform 31"/>
            <p:cNvSpPr>
              <a:spLocks/>
            </p:cNvSpPr>
            <p:nvPr userDrawn="1"/>
          </p:nvSpPr>
          <p:spPr bwMode="gray">
            <a:xfrm>
              <a:off x="5506" y="492"/>
              <a:ext cx="29" cy="52"/>
            </a:xfrm>
            <a:custGeom>
              <a:avLst/>
              <a:gdLst>
                <a:gd name="T0" fmla="*/ 12 w 29"/>
                <a:gd name="T1" fmla="*/ 36 h 52"/>
                <a:gd name="T2" fmla="*/ 0 w 29"/>
                <a:gd name="T3" fmla="*/ 0 h 52"/>
                <a:gd name="T4" fmla="*/ 6 w 29"/>
                <a:gd name="T5" fmla="*/ 0 h 52"/>
                <a:gd name="T6" fmla="*/ 15 w 29"/>
                <a:gd name="T7" fmla="*/ 28 h 52"/>
                <a:gd name="T8" fmla="*/ 23 w 29"/>
                <a:gd name="T9" fmla="*/ 0 h 52"/>
                <a:gd name="T10" fmla="*/ 29 w 29"/>
                <a:gd name="T11" fmla="*/ 0 h 52"/>
                <a:gd name="T12" fmla="*/ 11 w 29"/>
                <a:gd name="T13" fmla="*/ 52 h 52"/>
                <a:gd name="T14" fmla="*/ 6 w 29"/>
                <a:gd name="T15" fmla="*/ 52 h 52"/>
                <a:gd name="T16" fmla="*/ 12 w 29"/>
                <a:gd name="T17" fmla="*/ 36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52">
                  <a:moveTo>
                    <a:pt x="12" y="36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15" y="28"/>
                  </a:lnTo>
                  <a:lnTo>
                    <a:pt x="23" y="0"/>
                  </a:lnTo>
                  <a:lnTo>
                    <a:pt x="29" y="0"/>
                  </a:lnTo>
                  <a:lnTo>
                    <a:pt x="11" y="52"/>
                  </a:lnTo>
                  <a:lnTo>
                    <a:pt x="6" y="52"/>
                  </a:lnTo>
                  <a:lnTo>
                    <a:pt x="12" y="3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362528" name="Freeform 32"/>
            <p:cNvSpPr>
              <a:spLocks noEditPoints="1"/>
            </p:cNvSpPr>
            <p:nvPr userDrawn="1"/>
          </p:nvSpPr>
          <p:spPr bwMode="gray">
            <a:xfrm>
              <a:off x="5538" y="491"/>
              <a:ext cx="29" cy="37"/>
            </a:xfrm>
            <a:custGeom>
              <a:avLst/>
              <a:gdLst>
                <a:gd name="T0" fmla="*/ 304 w 607"/>
                <a:gd name="T1" fmla="*/ 0 h 762"/>
                <a:gd name="T2" fmla="*/ 534 w 607"/>
                <a:gd name="T3" fmla="*/ 103 h 762"/>
                <a:gd name="T4" fmla="*/ 607 w 607"/>
                <a:gd name="T5" fmla="*/ 381 h 762"/>
                <a:gd name="T6" fmla="*/ 534 w 607"/>
                <a:gd name="T7" fmla="*/ 659 h 762"/>
                <a:gd name="T8" fmla="*/ 304 w 607"/>
                <a:gd name="T9" fmla="*/ 762 h 762"/>
                <a:gd name="T10" fmla="*/ 0 w 607"/>
                <a:gd name="T11" fmla="*/ 375 h 762"/>
                <a:gd name="T12" fmla="*/ 73 w 607"/>
                <a:gd name="T13" fmla="*/ 103 h 762"/>
                <a:gd name="T14" fmla="*/ 304 w 607"/>
                <a:gd name="T15" fmla="*/ 0 h 762"/>
                <a:gd name="T16" fmla="*/ 304 w 607"/>
                <a:gd name="T17" fmla="*/ 74 h 762"/>
                <a:gd name="T18" fmla="*/ 159 w 607"/>
                <a:gd name="T19" fmla="*/ 168 h 762"/>
                <a:gd name="T20" fmla="*/ 126 w 607"/>
                <a:gd name="T21" fmla="*/ 377 h 762"/>
                <a:gd name="T22" fmla="*/ 159 w 607"/>
                <a:gd name="T23" fmla="*/ 593 h 762"/>
                <a:gd name="T24" fmla="*/ 304 w 607"/>
                <a:gd name="T25" fmla="*/ 687 h 762"/>
                <a:gd name="T26" fmla="*/ 448 w 607"/>
                <a:gd name="T27" fmla="*/ 593 h 762"/>
                <a:gd name="T28" fmla="*/ 481 w 607"/>
                <a:gd name="T29" fmla="*/ 380 h 762"/>
                <a:gd name="T30" fmla="*/ 448 w 607"/>
                <a:gd name="T31" fmla="*/ 168 h 762"/>
                <a:gd name="T32" fmla="*/ 304 w 607"/>
                <a:gd name="T33" fmla="*/ 74 h 7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4" y="762"/>
                  </a:cubicBezTo>
                  <a:cubicBezTo>
                    <a:pt x="101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5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5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362529" name="Freeform 33"/>
            <p:cNvSpPr>
              <a:spLocks/>
            </p:cNvSpPr>
            <p:nvPr userDrawn="1"/>
          </p:nvSpPr>
          <p:spPr bwMode="gray">
            <a:xfrm>
              <a:off x="5576" y="492"/>
              <a:ext cx="25" cy="36"/>
            </a:xfrm>
            <a:custGeom>
              <a:avLst/>
              <a:gdLst>
                <a:gd name="T0" fmla="*/ 0 w 527"/>
                <a:gd name="T1" fmla="*/ 0 h 742"/>
                <a:gd name="T2" fmla="*/ 123 w 527"/>
                <a:gd name="T3" fmla="*/ 0 h 742"/>
                <a:gd name="T4" fmla="*/ 123 w 527"/>
                <a:gd name="T5" fmla="*/ 445 h 742"/>
                <a:gd name="T6" fmla="*/ 145 w 527"/>
                <a:gd name="T7" fmla="*/ 609 h 742"/>
                <a:gd name="T8" fmla="*/ 197 w 527"/>
                <a:gd name="T9" fmla="*/ 656 h 742"/>
                <a:gd name="T10" fmla="*/ 276 w 527"/>
                <a:gd name="T11" fmla="*/ 667 h 742"/>
                <a:gd name="T12" fmla="*/ 403 w 527"/>
                <a:gd name="T13" fmla="*/ 648 h 742"/>
                <a:gd name="T14" fmla="*/ 403 w 527"/>
                <a:gd name="T15" fmla="*/ 0 h 742"/>
                <a:gd name="T16" fmla="*/ 527 w 527"/>
                <a:gd name="T17" fmla="*/ 0 h 742"/>
                <a:gd name="T18" fmla="*/ 527 w 527"/>
                <a:gd name="T19" fmla="*/ 710 h 742"/>
                <a:gd name="T20" fmla="*/ 269 w 527"/>
                <a:gd name="T21" fmla="*/ 742 h 742"/>
                <a:gd name="T22" fmla="*/ 86 w 527"/>
                <a:gd name="T23" fmla="*/ 703 h 742"/>
                <a:gd name="T24" fmla="*/ 6 w 527"/>
                <a:gd name="T25" fmla="*/ 567 h 742"/>
                <a:gd name="T26" fmla="*/ 0 w 527"/>
                <a:gd name="T27" fmla="*/ 454 h 742"/>
                <a:gd name="T28" fmla="*/ 0 w 527"/>
                <a:gd name="T29" fmla="*/ 0 h 7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27" h="742">
                  <a:moveTo>
                    <a:pt x="0" y="0"/>
                  </a:moveTo>
                  <a:cubicBezTo>
                    <a:pt x="123" y="0"/>
                    <a:pt x="123" y="0"/>
                    <a:pt x="123" y="0"/>
                  </a:cubicBezTo>
                  <a:cubicBezTo>
                    <a:pt x="123" y="445"/>
                    <a:pt x="123" y="445"/>
                    <a:pt x="123" y="445"/>
                  </a:cubicBezTo>
                  <a:cubicBezTo>
                    <a:pt x="123" y="527"/>
                    <a:pt x="131" y="582"/>
                    <a:pt x="145" y="609"/>
                  </a:cubicBezTo>
                  <a:cubicBezTo>
                    <a:pt x="157" y="632"/>
                    <a:pt x="174" y="648"/>
                    <a:pt x="197" y="656"/>
                  </a:cubicBezTo>
                  <a:cubicBezTo>
                    <a:pt x="216" y="663"/>
                    <a:pt x="242" y="667"/>
                    <a:pt x="276" y="667"/>
                  </a:cubicBezTo>
                  <a:cubicBezTo>
                    <a:pt x="317" y="667"/>
                    <a:pt x="359" y="661"/>
                    <a:pt x="403" y="648"/>
                  </a:cubicBezTo>
                  <a:cubicBezTo>
                    <a:pt x="403" y="0"/>
                    <a:pt x="403" y="0"/>
                    <a:pt x="403" y="0"/>
                  </a:cubicBezTo>
                  <a:cubicBezTo>
                    <a:pt x="527" y="0"/>
                    <a:pt x="527" y="0"/>
                    <a:pt x="527" y="0"/>
                  </a:cubicBezTo>
                  <a:cubicBezTo>
                    <a:pt x="527" y="710"/>
                    <a:pt x="527" y="710"/>
                    <a:pt x="527" y="710"/>
                  </a:cubicBezTo>
                  <a:cubicBezTo>
                    <a:pt x="435" y="731"/>
                    <a:pt x="349" y="742"/>
                    <a:pt x="269" y="742"/>
                  </a:cubicBezTo>
                  <a:cubicBezTo>
                    <a:pt x="187" y="742"/>
                    <a:pt x="126" y="729"/>
                    <a:pt x="86" y="703"/>
                  </a:cubicBezTo>
                  <a:cubicBezTo>
                    <a:pt x="41" y="674"/>
                    <a:pt x="14" y="629"/>
                    <a:pt x="6" y="567"/>
                  </a:cubicBezTo>
                  <a:cubicBezTo>
                    <a:pt x="2" y="539"/>
                    <a:pt x="0" y="501"/>
                    <a:pt x="0" y="45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362530" name="Freeform 34"/>
            <p:cNvSpPr>
              <a:spLocks/>
            </p:cNvSpPr>
            <p:nvPr userDrawn="1"/>
          </p:nvSpPr>
          <p:spPr bwMode="gray">
            <a:xfrm>
              <a:off x="5233" y="157"/>
              <a:ext cx="113" cy="88"/>
            </a:xfrm>
            <a:custGeom>
              <a:avLst/>
              <a:gdLst>
                <a:gd name="T0" fmla="*/ 961 w 2365"/>
                <a:gd name="T1" fmla="*/ 764 h 1825"/>
                <a:gd name="T2" fmla="*/ 599 w 2365"/>
                <a:gd name="T3" fmla="*/ 642 h 1825"/>
                <a:gd name="T4" fmla="*/ 1 w 2365"/>
                <a:gd name="T5" fmla="*/ 1235 h 1825"/>
                <a:gd name="T6" fmla="*/ 599 w 2365"/>
                <a:gd name="T7" fmla="*/ 1825 h 1825"/>
                <a:gd name="T8" fmla="*/ 1053 w 2365"/>
                <a:gd name="T9" fmla="*/ 1619 h 1825"/>
                <a:gd name="T10" fmla="*/ 1053 w 2365"/>
                <a:gd name="T11" fmla="*/ 1293 h 1825"/>
                <a:gd name="T12" fmla="*/ 771 w 2365"/>
                <a:gd name="T13" fmla="*/ 1568 h 1825"/>
                <a:gd name="T14" fmla="*/ 599 w 2365"/>
                <a:gd name="T15" fmla="*/ 1604 h 1825"/>
                <a:gd name="T16" fmla="*/ 225 w 2365"/>
                <a:gd name="T17" fmla="*/ 1235 h 1825"/>
                <a:gd name="T18" fmla="*/ 599 w 2365"/>
                <a:gd name="T19" fmla="*/ 863 h 1825"/>
                <a:gd name="T20" fmla="*/ 861 w 2365"/>
                <a:gd name="T21" fmla="*/ 972 h 1825"/>
                <a:gd name="T22" fmla="*/ 1093 w 2365"/>
                <a:gd name="T23" fmla="*/ 1239 h 1825"/>
                <a:gd name="T24" fmla="*/ 1630 w 2365"/>
                <a:gd name="T25" fmla="*/ 1473 h 1825"/>
                <a:gd name="T26" fmla="*/ 2365 w 2365"/>
                <a:gd name="T27" fmla="*/ 741 h 1825"/>
                <a:gd name="T28" fmla="*/ 1630 w 2365"/>
                <a:gd name="T29" fmla="*/ 0 h 1825"/>
                <a:gd name="T30" fmla="*/ 1053 w 2365"/>
                <a:gd name="T31" fmla="*/ 295 h 1825"/>
                <a:gd name="T32" fmla="*/ 1053 w 2365"/>
                <a:gd name="T33" fmla="*/ 735 h 1825"/>
                <a:gd name="T34" fmla="*/ 1630 w 2365"/>
                <a:gd name="T35" fmla="*/ 232 h 1825"/>
                <a:gd name="T36" fmla="*/ 2134 w 2365"/>
                <a:gd name="T37" fmla="*/ 741 h 1825"/>
                <a:gd name="T38" fmla="*/ 1630 w 2365"/>
                <a:gd name="T39" fmla="*/ 1245 h 1825"/>
                <a:gd name="T40" fmla="*/ 1303 w 2365"/>
                <a:gd name="T41" fmla="*/ 1125 h 1825"/>
                <a:gd name="T42" fmla="*/ 961 w 2365"/>
                <a:gd name="T43" fmla="*/ 764 h 18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65" h="1825">
                  <a:moveTo>
                    <a:pt x="961" y="764"/>
                  </a:moveTo>
                  <a:cubicBezTo>
                    <a:pt x="875" y="688"/>
                    <a:pt x="736" y="643"/>
                    <a:pt x="599" y="642"/>
                  </a:cubicBezTo>
                  <a:cubicBezTo>
                    <a:pt x="270" y="641"/>
                    <a:pt x="2" y="900"/>
                    <a:pt x="1" y="1235"/>
                  </a:cubicBezTo>
                  <a:cubicBezTo>
                    <a:pt x="0" y="1563"/>
                    <a:pt x="270" y="1824"/>
                    <a:pt x="599" y="1825"/>
                  </a:cubicBezTo>
                  <a:cubicBezTo>
                    <a:pt x="783" y="1825"/>
                    <a:pt x="943" y="1751"/>
                    <a:pt x="1053" y="1619"/>
                  </a:cubicBezTo>
                  <a:cubicBezTo>
                    <a:pt x="1053" y="1293"/>
                    <a:pt x="1053" y="1293"/>
                    <a:pt x="1053" y="1293"/>
                  </a:cubicBezTo>
                  <a:cubicBezTo>
                    <a:pt x="994" y="1394"/>
                    <a:pt x="877" y="1524"/>
                    <a:pt x="771" y="1568"/>
                  </a:cubicBezTo>
                  <a:cubicBezTo>
                    <a:pt x="717" y="1590"/>
                    <a:pt x="662" y="1604"/>
                    <a:pt x="599" y="1604"/>
                  </a:cubicBezTo>
                  <a:cubicBezTo>
                    <a:pt x="394" y="1604"/>
                    <a:pt x="225" y="1445"/>
                    <a:pt x="225" y="1235"/>
                  </a:cubicBezTo>
                  <a:cubicBezTo>
                    <a:pt x="225" y="1041"/>
                    <a:pt x="380" y="862"/>
                    <a:pt x="599" y="863"/>
                  </a:cubicBezTo>
                  <a:cubicBezTo>
                    <a:pt x="701" y="863"/>
                    <a:pt x="793" y="905"/>
                    <a:pt x="861" y="972"/>
                  </a:cubicBezTo>
                  <a:cubicBezTo>
                    <a:pt x="931" y="1040"/>
                    <a:pt x="1041" y="1183"/>
                    <a:pt x="1093" y="1239"/>
                  </a:cubicBezTo>
                  <a:cubicBezTo>
                    <a:pt x="1227" y="1383"/>
                    <a:pt x="1419" y="1473"/>
                    <a:pt x="1630" y="1473"/>
                  </a:cubicBezTo>
                  <a:cubicBezTo>
                    <a:pt x="2036" y="1474"/>
                    <a:pt x="2365" y="1146"/>
                    <a:pt x="2365" y="741"/>
                  </a:cubicBezTo>
                  <a:cubicBezTo>
                    <a:pt x="2365" y="336"/>
                    <a:pt x="2035" y="0"/>
                    <a:pt x="1630" y="0"/>
                  </a:cubicBezTo>
                  <a:cubicBezTo>
                    <a:pt x="1395" y="0"/>
                    <a:pt x="1187" y="122"/>
                    <a:pt x="1053" y="295"/>
                  </a:cubicBezTo>
                  <a:cubicBezTo>
                    <a:pt x="1053" y="735"/>
                    <a:pt x="1053" y="735"/>
                    <a:pt x="1053" y="735"/>
                  </a:cubicBezTo>
                  <a:cubicBezTo>
                    <a:pt x="1155" y="455"/>
                    <a:pt x="1340" y="232"/>
                    <a:pt x="1630" y="232"/>
                  </a:cubicBezTo>
                  <a:cubicBezTo>
                    <a:pt x="1909" y="232"/>
                    <a:pt x="2135" y="463"/>
                    <a:pt x="2134" y="741"/>
                  </a:cubicBezTo>
                  <a:cubicBezTo>
                    <a:pt x="2134" y="1020"/>
                    <a:pt x="1909" y="1246"/>
                    <a:pt x="1630" y="1245"/>
                  </a:cubicBezTo>
                  <a:cubicBezTo>
                    <a:pt x="1506" y="1244"/>
                    <a:pt x="1391" y="1199"/>
                    <a:pt x="1303" y="1125"/>
                  </a:cubicBezTo>
                  <a:cubicBezTo>
                    <a:pt x="1194" y="1040"/>
                    <a:pt x="1074" y="860"/>
                    <a:pt x="961" y="76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362531" name="Freeform 35"/>
            <p:cNvSpPr>
              <a:spLocks/>
            </p:cNvSpPr>
            <p:nvPr userDrawn="1"/>
          </p:nvSpPr>
          <p:spPr bwMode="gray">
            <a:xfrm>
              <a:off x="5047" y="253"/>
              <a:ext cx="78" cy="127"/>
            </a:xfrm>
            <a:custGeom>
              <a:avLst/>
              <a:gdLst>
                <a:gd name="T0" fmla="*/ 0 w 1624"/>
                <a:gd name="T1" fmla="*/ 0 h 2651"/>
                <a:gd name="T2" fmla="*/ 1624 w 1624"/>
                <a:gd name="T3" fmla="*/ 0 h 2651"/>
                <a:gd name="T4" fmla="*/ 1624 w 1624"/>
                <a:gd name="T5" fmla="*/ 452 h 2651"/>
                <a:gd name="T6" fmla="*/ 1365 w 1624"/>
                <a:gd name="T7" fmla="*/ 273 h 2651"/>
                <a:gd name="T8" fmla="*/ 613 w 1624"/>
                <a:gd name="T9" fmla="*/ 273 h 2651"/>
                <a:gd name="T10" fmla="*/ 613 w 1624"/>
                <a:gd name="T11" fmla="*/ 1053 h 2651"/>
                <a:gd name="T12" fmla="*/ 1428 w 1624"/>
                <a:gd name="T13" fmla="*/ 1053 h 2651"/>
                <a:gd name="T14" fmla="*/ 1428 w 1624"/>
                <a:gd name="T15" fmla="*/ 1467 h 2651"/>
                <a:gd name="T16" fmla="*/ 1205 w 1624"/>
                <a:gd name="T17" fmla="*/ 1335 h 2651"/>
                <a:gd name="T18" fmla="*/ 613 w 1624"/>
                <a:gd name="T19" fmla="*/ 1335 h 2651"/>
                <a:gd name="T20" fmla="*/ 613 w 1624"/>
                <a:gd name="T21" fmla="*/ 2401 h 2651"/>
                <a:gd name="T22" fmla="*/ 784 w 1624"/>
                <a:gd name="T23" fmla="*/ 2651 h 2651"/>
                <a:gd name="T24" fmla="*/ 11 w 1624"/>
                <a:gd name="T25" fmla="*/ 2651 h 2651"/>
                <a:gd name="T26" fmla="*/ 173 w 1624"/>
                <a:gd name="T27" fmla="*/ 2401 h 2651"/>
                <a:gd name="T28" fmla="*/ 173 w 1624"/>
                <a:gd name="T29" fmla="*/ 278 h 2651"/>
                <a:gd name="T30" fmla="*/ 0 w 1624"/>
                <a:gd name="T31" fmla="*/ 0 h 2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624" h="2651">
                  <a:moveTo>
                    <a:pt x="0" y="0"/>
                  </a:moveTo>
                  <a:cubicBezTo>
                    <a:pt x="1624" y="0"/>
                    <a:pt x="1624" y="0"/>
                    <a:pt x="1624" y="0"/>
                  </a:cubicBezTo>
                  <a:cubicBezTo>
                    <a:pt x="1624" y="452"/>
                    <a:pt x="1624" y="452"/>
                    <a:pt x="1624" y="452"/>
                  </a:cubicBezTo>
                  <a:cubicBezTo>
                    <a:pt x="1624" y="452"/>
                    <a:pt x="1540" y="274"/>
                    <a:pt x="1365" y="273"/>
                  </a:cubicBezTo>
                  <a:cubicBezTo>
                    <a:pt x="613" y="273"/>
                    <a:pt x="613" y="273"/>
                    <a:pt x="613" y="273"/>
                  </a:cubicBezTo>
                  <a:cubicBezTo>
                    <a:pt x="613" y="1053"/>
                    <a:pt x="613" y="1053"/>
                    <a:pt x="613" y="1053"/>
                  </a:cubicBezTo>
                  <a:cubicBezTo>
                    <a:pt x="1428" y="1053"/>
                    <a:pt x="1428" y="1053"/>
                    <a:pt x="1428" y="1053"/>
                  </a:cubicBezTo>
                  <a:cubicBezTo>
                    <a:pt x="1428" y="1467"/>
                    <a:pt x="1428" y="1467"/>
                    <a:pt x="1428" y="1467"/>
                  </a:cubicBezTo>
                  <a:cubicBezTo>
                    <a:pt x="1428" y="1467"/>
                    <a:pt x="1402" y="1335"/>
                    <a:pt x="1205" y="1335"/>
                  </a:cubicBezTo>
                  <a:cubicBezTo>
                    <a:pt x="613" y="1335"/>
                    <a:pt x="613" y="1335"/>
                    <a:pt x="613" y="1335"/>
                  </a:cubicBezTo>
                  <a:cubicBezTo>
                    <a:pt x="613" y="2401"/>
                    <a:pt x="613" y="2401"/>
                    <a:pt x="613" y="2401"/>
                  </a:cubicBezTo>
                  <a:cubicBezTo>
                    <a:pt x="613" y="2558"/>
                    <a:pt x="784" y="2651"/>
                    <a:pt x="784" y="2651"/>
                  </a:cubicBezTo>
                  <a:cubicBezTo>
                    <a:pt x="11" y="2651"/>
                    <a:pt x="11" y="2651"/>
                    <a:pt x="11" y="2651"/>
                  </a:cubicBezTo>
                  <a:cubicBezTo>
                    <a:pt x="11" y="2651"/>
                    <a:pt x="173" y="2569"/>
                    <a:pt x="173" y="2401"/>
                  </a:cubicBezTo>
                  <a:cubicBezTo>
                    <a:pt x="173" y="278"/>
                    <a:pt x="173" y="278"/>
                    <a:pt x="173" y="278"/>
                  </a:cubicBezTo>
                  <a:cubicBezTo>
                    <a:pt x="173" y="9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362532" name="Freeform 36"/>
            <p:cNvSpPr>
              <a:spLocks/>
            </p:cNvSpPr>
            <p:nvPr userDrawn="1"/>
          </p:nvSpPr>
          <p:spPr bwMode="gray">
            <a:xfrm>
              <a:off x="5232" y="253"/>
              <a:ext cx="51" cy="178"/>
            </a:xfrm>
            <a:custGeom>
              <a:avLst/>
              <a:gdLst>
                <a:gd name="T0" fmla="*/ 246 w 1072"/>
                <a:gd name="T1" fmla="*/ 0 h 3696"/>
                <a:gd name="T2" fmla="*/ 1072 w 1072"/>
                <a:gd name="T3" fmla="*/ 0 h 3696"/>
                <a:gd name="T4" fmla="*/ 887 w 1072"/>
                <a:gd name="T5" fmla="*/ 230 h 3696"/>
                <a:gd name="T6" fmla="*/ 887 w 1072"/>
                <a:gd name="T7" fmla="*/ 2717 h 3696"/>
                <a:gd name="T8" fmla="*/ 0 w 1072"/>
                <a:gd name="T9" fmla="*/ 3693 h 3696"/>
                <a:gd name="T10" fmla="*/ 423 w 1072"/>
                <a:gd name="T11" fmla="*/ 2717 h 3696"/>
                <a:gd name="T12" fmla="*/ 423 w 1072"/>
                <a:gd name="T13" fmla="*/ 230 h 3696"/>
                <a:gd name="T14" fmla="*/ 246 w 1072"/>
                <a:gd name="T15" fmla="*/ 0 h 36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72" h="3696">
                  <a:moveTo>
                    <a:pt x="246" y="0"/>
                  </a:moveTo>
                  <a:cubicBezTo>
                    <a:pt x="1072" y="0"/>
                    <a:pt x="1072" y="0"/>
                    <a:pt x="1072" y="0"/>
                  </a:cubicBezTo>
                  <a:cubicBezTo>
                    <a:pt x="1072" y="0"/>
                    <a:pt x="887" y="87"/>
                    <a:pt x="887" y="230"/>
                  </a:cubicBezTo>
                  <a:cubicBezTo>
                    <a:pt x="887" y="2717"/>
                    <a:pt x="887" y="2717"/>
                    <a:pt x="887" y="2717"/>
                  </a:cubicBezTo>
                  <a:cubicBezTo>
                    <a:pt x="887" y="3558"/>
                    <a:pt x="44" y="3696"/>
                    <a:pt x="0" y="3693"/>
                  </a:cubicBezTo>
                  <a:cubicBezTo>
                    <a:pt x="72" y="3647"/>
                    <a:pt x="422" y="3349"/>
                    <a:pt x="423" y="2717"/>
                  </a:cubicBezTo>
                  <a:cubicBezTo>
                    <a:pt x="423" y="230"/>
                    <a:pt x="423" y="230"/>
                    <a:pt x="423" y="230"/>
                  </a:cubicBezTo>
                  <a:cubicBezTo>
                    <a:pt x="424" y="96"/>
                    <a:pt x="246" y="0"/>
                    <a:pt x="24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362533" name="Freeform 37"/>
            <p:cNvSpPr>
              <a:spLocks/>
            </p:cNvSpPr>
            <p:nvPr userDrawn="1"/>
          </p:nvSpPr>
          <p:spPr bwMode="gray">
            <a:xfrm>
              <a:off x="5289" y="253"/>
              <a:ext cx="40" cy="127"/>
            </a:xfrm>
            <a:custGeom>
              <a:avLst/>
              <a:gdLst>
                <a:gd name="T0" fmla="*/ 0 w 828"/>
                <a:gd name="T1" fmla="*/ 0 h 2653"/>
                <a:gd name="T2" fmla="*/ 828 w 828"/>
                <a:gd name="T3" fmla="*/ 0 h 2653"/>
                <a:gd name="T4" fmla="*/ 645 w 828"/>
                <a:gd name="T5" fmla="*/ 235 h 2653"/>
                <a:gd name="T6" fmla="*/ 645 w 828"/>
                <a:gd name="T7" fmla="*/ 2401 h 2653"/>
                <a:gd name="T8" fmla="*/ 828 w 828"/>
                <a:gd name="T9" fmla="*/ 2653 h 2653"/>
                <a:gd name="T10" fmla="*/ 0 w 828"/>
                <a:gd name="T11" fmla="*/ 2653 h 2653"/>
                <a:gd name="T12" fmla="*/ 184 w 828"/>
                <a:gd name="T13" fmla="*/ 2401 h 2653"/>
                <a:gd name="T14" fmla="*/ 184 w 828"/>
                <a:gd name="T15" fmla="*/ 235 h 2653"/>
                <a:gd name="T16" fmla="*/ 0 w 828"/>
                <a:gd name="T17" fmla="*/ 0 h 26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28" h="2653">
                  <a:moveTo>
                    <a:pt x="0" y="0"/>
                  </a:moveTo>
                  <a:cubicBezTo>
                    <a:pt x="828" y="0"/>
                    <a:pt x="828" y="0"/>
                    <a:pt x="828" y="0"/>
                  </a:cubicBezTo>
                  <a:cubicBezTo>
                    <a:pt x="828" y="0"/>
                    <a:pt x="645" y="89"/>
                    <a:pt x="645" y="235"/>
                  </a:cubicBezTo>
                  <a:cubicBezTo>
                    <a:pt x="645" y="2401"/>
                    <a:pt x="645" y="2401"/>
                    <a:pt x="645" y="2401"/>
                  </a:cubicBezTo>
                  <a:cubicBezTo>
                    <a:pt x="645" y="2556"/>
                    <a:pt x="828" y="2653"/>
                    <a:pt x="828" y="2653"/>
                  </a:cubicBezTo>
                  <a:cubicBezTo>
                    <a:pt x="0" y="2653"/>
                    <a:pt x="0" y="2653"/>
                    <a:pt x="0" y="2653"/>
                  </a:cubicBezTo>
                  <a:cubicBezTo>
                    <a:pt x="0" y="2653"/>
                    <a:pt x="184" y="2557"/>
                    <a:pt x="184" y="2401"/>
                  </a:cubicBezTo>
                  <a:cubicBezTo>
                    <a:pt x="184" y="235"/>
                    <a:pt x="184" y="235"/>
                    <a:pt x="184" y="235"/>
                  </a:cubicBezTo>
                  <a:cubicBezTo>
                    <a:pt x="184" y="8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362534" name="Freeform 38"/>
            <p:cNvSpPr>
              <a:spLocks/>
            </p:cNvSpPr>
            <p:nvPr userDrawn="1"/>
          </p:nvSpPr>
          <p:spPr bwMode="gray">
            <a:xfrm>
              <a:off x="5329" y="253"/>
              <a:ext cx="95" cy="127"/>
            </a:xfrm>
            <a:custGeom>
              <a:avLst/>
              <a:gdLst>
                <a:gd name="T0" fmla="*/ 161 w 1984"/>
                <a:gd name="T1" fmla="*/ 0 h 2651"/>
                <a:gd name="T2" fmla="*/ 1984 w 1984"/>
                <a:gd name="T3" fmla="*/ 0 h 2651"/>
                <a:gd name="T4" fmla="*/ 1829 w 1984"/>
                <a:gd name="T5" fmla="*/ 482 h 2651"/>
                <a:gd name="T6" fmla="*/ 1607 w 1984"/>
                <a:gd name="T7" fmla="*/ 279 h 2651"/>
                <a:gd name="T8" fmla="*/ 1229 w 1984"/>
                <a:gd name="T9" fmla="*/ 279 h 2651"/>
                <a:gd name="T10" fmla="*/ 1229 w 1984"/>
                <a:gd name="T11" fmla="*/ 2401 h 2651"/>
                <a:gd name="T12" fmla="*/ 1407 w 1984"/>
                <a:gd name="T13" fmla="*/ 2651 h 2651"/>
                <a:gd name="T14" fmla="*/ 595 w 1984"/>
                <a:gd name="T15" fmla="*/ 2651 h 2651"/>
                <a:gd name="T16" fmla="*/ 771 w 1984"/>
                <a:gd name="T17" fmla="*/ 2401 h 2651"/>
                <a:gd name="T18" fmla="*/ 771 w 1984"/>
                <a:gd name="T19" fmla="*/ 279 h 2651"/>
                <a:gd name="T20" fmla="*/ 315 w 1984"/>
                <a:gd name="T21" fmla="*/ 279 h 2651"/>
                <a:gd name="T22" fmla="*/ 0 w 1984"/>
                <a:gd name="T23" fmla="*/ 522 h 2651"/>
                <a:gd name="T24" fmla="*/ 161 w 1984"/>
                <a:gd name="T25" fmla="*/ 0 h 2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84" h="2651">
                  <a:moveTo>
                    <a:pt x="161" y="0"/>
                  </a:moveTo>
                  <a:cubicBezTo>
                    <a:pt x="1984" y="0"/>
                    <a:pt x="1984" y="0"/>
                    <a:pt x="1984" y="0"/>
                  </a:cubicBezTo>
                  <a:cubicBezTo>
                    <a:pt x="1829" y="482"/>
                    <a:pt x="1829" y="482"/>
                    <a:pt x="1829" y="482"/>
                  </a:cubicBezTo>
                  <a:cubicBezTo>
                    <a:pt x="1829" y="482"/>
                    <a:pt x="1783" y="279"/>
                    <a:pt x="1607" y="279"/>
                  </a:cubicBezTo>
                  <a:cubicBezTo>
                    <a:pt x="1229" y="279"/>
                    <a:pt x="1229" y="279"/>
                    <a:pt x="1229" y="279"/>
                  </a:cubicBezTo>
                  <a:cubicBezTo>
                    <a:pt x="1229" y="2401"/>
                    <a:pt x="1229" y="2401"/>
                    <a:pt x="1229" y="2401"/>
                  </a:cubicBezTo>
                  <a:cubicBezTo>
                    <a:pt x="1229" y="2535"/>
                    <a:pt x="1407" y="2651"/>
                    <a:pt x="1407" y="2651"/>
                  </a:cubicBezTo>
                  <a:cubicBezTo>
                    <a:pt x="595" y="2651"/>
                    <a:pt x="595" y="2651"/>
                    <a:pt x="595" y="2651"/>
                  </a:cubicBezTo>
                  <a:cubicBezTo>
                    <a:pt x="595" y="2651"/>
                    <a:pt x="771" y="2547"/>
                    <a:pt x="771" y="2401"/>
                  </a:cubicBezTo>
                  <a:cubicBezTo>
                    <a:pt x="771" y="279"/>
                    <a:pt x="771" y="279"/>
                    <a:pt x="771" y="279"/>
                  </a:cubicBezTo>
                  <a:cubicBezTo>
                    <a:pt x="315" y="279"/>
                    <a:pt x="315" y="279"/>
                    <a:pt x="315" y="279"/>
                  </a:cubicBezTo>
                  <a:cubicBezTo>
                    <a:pt x="185" y="280"/>
                    <a:pt x="0" y="522"/>
                    <a:pt x="0" y="522"/>
                  </a:cubicBezTo>
                  <a:lnTo>
                    <a:pt x="16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362535" name="Freeform 39"/>
            <p:cNvSpPr>
              <a:spLocks/>
            </p:cNvSpPr>
            <p:nvPr userDrawn="1"/>
          </p:nvSpPr>
          <p:spPr bwMode="gray">
            <a:xfrm>
              <a:off x="5502" y="253"/>
              <a:ext cx="107" cy="129"/>
            </a:xfrm>
            <a:custGeom>
              <a:avLst/>
              <a:gdLst>
                <a:gd name="T0" fmla="*/ 1420 w 2219"/>
                <a:gd name="T1" fmla="*/ 0 h 2693"/>
                <a:gd name="T2" fmla="*/ 2219 w 2219"/>
                <a:gd name="T3" fmla="*/ 0 h 2693"/>
                <a:gd name="T4" fmla="*/ 2048 w 2219"/>
                <a:gd name="T5" fmla="*/ 234 h 2693"/>
                <a:gd name="T6" fmla="*/ 2048 w 2219"/>
                <a:gd name="T7" fmla="*/ 1840 h 2693"/>
                <a:gd name="T8" fmla="*/ 1131 w 2219"/>
                <a:gd name="T9" fmla="*/ 2693 h 2693"/>
                <a:gd name="T10" fmla="*/ 176 w 2219"/>
                <a:gd name="T11" fmla="*/ 1840 h 2693"/>
                <a:gd name="T12" fmla="*/ 176 w 2219"/>
                <a:gd name="T13" fmla="*/ 234 h 2693"/>
                <a:gd name="T14" fmla="*/ 0 w 2219"/>
                <a:gd name="T15" fmla="*/ 0 h 2693"/>
                <a:gd name="T16" fmla="*/ 821 w 2219"/>
                <a:gd name="T17" fmla="*/ 0 h 2693"/>
                <a:gd name="T18" fmla="*/ 638 w 2219"/>
                <a:gd name="T19" fmla="*/ 234 h 2693"/>
                <a:gd name="T20" fmla="*/ 638 w 2219"/>
                <a:gd name="T21" fmla="*/ 1840 h 2693"/>
                <a:gd name="T22" fmla="*/ 1131 w 2219"/>
                <a:gd name="T23" fmla="*/ 2406 h 2693"/>
                <a:gd name="T24" fmla="*/ 1601 w 2219"/>
                <a:gd name="T25" fmla="*/ 1840 h 2693"/>
                <a:gd name="T26" fmla="*/ 1601 w 2219"/>
                <a:gd name="T27" fmla="*/ 234 h 2693"/>
                <a:gd name="T28" fmla="*/ 1420 w 2219"/>
                <a:gd name="T29" fmla="*/ 0 h 26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219" h="2693">
                  <a:moveTo>
                    <a:pt x="1420" y="0"/>
                  </a:moveTo>
                  <a:cubicBezTo>
                    <a:pt x="2219" y="0"/>
                    <a:pt x="2219" y="0"/>
                    <a:pt x="2219" y="0"/>
                  </a:cubicBezTo>
                  <a:cubicBezTo>
                    <a:pt x="2219" y="0"/>
                    <a:pt x="2048" y="91"/>
                    <a:pt x="2048" y="234"/>
                  </a:cubicBezTo>
                  <a:cubicBezTo>
                    <a:pt x="2048" y="1840"/>
                    <a:pt x="2048" y="1840"/>
                    <a:pt x="2048" y="1840"/>
                  </a:cubicBezTo>
                  <a:cubicBezTo>
                    <a:pt x="2047" y="2492"/>
                    <a:pt x="1506" y="2693"/>
                    <a:pt x="1131" y="2693"/>
                  </a:cubicBezTo>
                  <a:cubicBezTo>
                    <a:pt x="759" y="2693"/>
                    <a:pt x="175" y="2490"/>
                    <a:pt x="176" y="1840"/>
                  </a:cubicBezTo>
                  <a:cubicBezTo>
                    <a:pt x="176" y="234"/>
                    <a:pt x="176" y="234"/>
                    <a:pt x="176" y="234"/>
                  </a:cubicBezTo>
                  <a:cubicBezTo>
                    <a:pt x="176" y="91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8" y="88"/>
                    <a:pt x="638" y="234"/>
                  </a:cubicBezTo>
                  <a:cubicBezTo>
                    <a:pt x="638" y="1840"/>
                    <a:pt x="638" y="1840"/>
                    <a:pt x="638" y="1840"/>
                  </a:cubicBezTo>
                  <a:cubicBezTo>
                    <a:pt x="638" y="2182"/>
                    <a:pt x="865" y="2406"/>
                    <a:pt x="1131" y="2406"/>
                  </a:cubicBezTo>
                  <a:cubicBezTo>
                    <a:pt x="1397" y="2406"/>
                    <a:pt x="1600" y="2173"/>
                    <a:pt x="1601" y="1840"/>
                  </a:cubicBezTo>
                  <a:cubicBezTo>
                    <a:pt x="1601" y="234"/>
                    <a:pt x="1601" y="234"/>
                    <a:pt x="1601" y="234"/>
                  </a:cubicBezTo>
                  <a:cubicBezTo>
                    <a:pt x="1601" y="91"/>
                    <a:pt x="1420" y="0"/>
                    <a:pt x="142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362536" name="Freeform 40"/>
            <p:cNvSpPr>
              <a:spLocks/>
            </p:cNvSpPr>
            <p:nvPr userDrawn="1"/>
          </p:nvSpPr>
          <p:spPr bwMode="gray">
            <a:xfrm>
              <a:off x="5129" y="253"/>
              <a:ext cx="107" cy="130"/>
            </a:xfrm>
            <a:custGeom>
              <a:avLst/>
              <a:gdLst>
                <a:gd name="T0" fmla="*/ 1427 w 2240"/>
                <a:gd name="T1" fmla="*/ 0 h 2700"/>
                <a:gd name="T2" fmla="*/ 2240 w 2240"/>
                <a:gd name="T3" fmla="*/ 0 h 2700"/>
                <a:gd name="T4" fmla="*/ 2068 w 2240"/>
                <a:gd name="T5" fmla="*/ 237 h 2700"/>
                <a:gd name="T6" fmla="*/ 2067 w 2240"/>
                <a:gd name="T7" fmla="*/ 1838 h 2700"/>
                <a:gd name="T8" fmla="*/ 1122 w 2240"/>
                <a:gd name="T9" fmla="*/ 2700 h 2700"/>
                <a:gd name="T10" fmla="*/ 166 w 2240"/>
                <a:gd name="T11" fmla="*/ 1838 h 2700"/>
                <a:gd name="T12" fmla="*/ 166 w 2240"/>
                <a:gd name="T13" fmla="*/ 237 h 2700"/>
                <a:gd name="T14" fmla="*/ 0 w 2240"/>
                <a:gd name="T15" fmla="*/ 0 h 2700"/>
                <a:gd name="T16" fmla="*/ 821 w 2240"/>
                <a:gd name="T17" fmla="*/ 0 h 2700"/>
                <a:gd name="T18" fmla="*/ 631 w 2240"/>
                <a:gd name="T19" fmla="*/ 237 h 2700"/>
                <a:gd name="T20" fmla="*/ 630 w 2240"/>
                <a:gd name="T21" fmla="*/ 1838 h 2700"/>
                <a:gd name="T22" fmla="*/ 1122 w 2240"/>
                <a:gd name="T23" fmla="*/ 2413 h 2700"/>
                <a:gd name="T24" fmla="*/ 1602 w 2240"/>
                <a:gd name="T25" fmla="*/ 1838 h 2700"/>
                <a:gd name="T26" fmla="*/ 1603 w 2240"/>
                <a:gd name="T27" fmla="*/ 237 h 2700"/>
                <a:gd name="T28" fmla="*/ 1427 w 2240"/>
                <a:gd name="T29" fmla="*/ 0 h 27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240" h="2700">
                  <a:moveTo>
                    <a:pt x="1427" y="0"/>
                  </a:moveTo>
                  <a:cubicBezTo>
                    <a:pt x="2240" y="0"/>
                    <a:pt x="2240" y="0"/>
                    <a:pt x="2240" y="0"/>
                  </a:cubicBezTo>
                  <a:cubicBezTo>
                    <a:pt x="2240" y="0"/>
                    <a:pt x="2068" y="95"/>
                    <a:pt x="2068" y="237"/>
                  </a:cubicBezTo>
                  <a:cubicBezTo>
                    <a:pt x="2068" y="238"/>
                    <a:pt x="2067" y="1838"/>
                    <a:pt x="2067" y="1838"/>
                  </a:cubicBezTo>
                  <a:cubicBezTo>
                    <a:pt x="2067" y="2494"/>
                    <a:pt x="1501" y="2700"/>
                    <a:pt x="1122" y="2700"/>
                  </a:cubicBezTo>
                  <a:cubicBezTo>
                    <a:pt x="750" y="2700"/>
                    <a:pt x="166" y="2491"/>
                    <a:pt x="166" y="1838"/>
                  </a:cubicBezTo>
                  <a:cubicBezTo>
                    <a:pt x="166" y="237"/>
                    <a:pt x="166" y="237"/>
                    <a:pt x="166" y="237"/>
                  </a:cubicBezTo>
                  <a:cubicBezTo>
                    <a:pt x="166" y="94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1" y="94"/>
                    <a:pt x="631" y="237"/>
                  </a:cubicBezTo>
                  <a:cubicBezTo>
                    <a:pt x="630" y="1838"/>
                    <a:pt x="630" y="1838"/>
                    <a:pt x="630" y="1838"/>
                  </a:cubicBezTo>
                  <a:cubicBezTo>
                    <a:pt x="630" y="2178"/>
                    <a:pt x="856" y="2412"/>
                    <a:pt x="1122" y="2413"/>
                  </a:cubicBezTo>
                  <a:cubicBezTo>
                    <a:pt x="1388" y="2414"/>
                    <a:pt x="1602" y="2174"/>
                    <a:pt x="1602" y="1838"/>
                  </a:cubicBezTo>
                  <a:cubicBezTo>
                    <a:pt x="1603" y="237"/>
                    <a:pt x="1603" y="237"/>
                    <a:pt x="1603" y="237"/>
                  </a:cubicBezTo>
                  <a:cubicBezTo>
                    <a:pt x="1603" y="94"/>
                    <a:pt x="1427" y="0"/>
                    <a:pt x="142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362537" name="Freeform 41"/>
            <p:cNvSpPr>
              <a:spLocks/>
            </p:cNvSpPr>
            <p:nvPr userDrawn="1"/>
          </p:nvSpPr>
          <p:spPr bwMode="gray">
            <a:xfrm>
              <a:off x="5420" y="250"/>
              <a:ext cx="82" cy="133"/>
            </a:xfrm>
            <a:custGeom>
              <a:avLst/>
              <a:gdLst>
                <a:gd name="T0" fmla="*/ 1467 w 1707"/>
                <a:gd name="T1" fmla="*/ 479 h 2755"/>
                <a:gd name="T2" fmla="*/ 1019 w 1707"/>
                <a:gd name="T3" fmla="*/ 276 h 2755"/>
                <a:gd name="T4" fmla="*/ 504 w 1707"/>
                <a:gd name="T5" fmla="*/ 677 h 2755"/>
                <a:gd name="T6" fmla="*/ 995 w 1707"/>
                <a:gd name="T7" fmla="*/ 1174 h 2755"/>
                <a:gd name="T8" fmla="*/ 1705 w 1707"/>
                <a:gd name="T9" fmla="*/ 1974 h 2755"/>
                <a:gd name="T10" fmla="*/ 651 w 1707"/>
                <a:gd name="T11" fmla="*/ 2755 h 2755"/>
                <a:gd name="T12" fmla="*/ 155 w 1707"/>
                <a:gd name="T13" fmla="*/ 2686 h 2755"/>
                <a:gd name="T14" fmla="*/ 0 w 1707"/>
                <a:gd name="T15" fmla="*/ 2177 h 2755"/>
                <a:gd name="T16" fmla="*/ 658 w 1707"/>
                <a:gd name="T17" fmla="*/ 2466 h 2755"/>
                <a:gd name="T18" fmla="*/ 1252 w 1707"/>
                <a:gd name="T19" fmla="*/ 2030 h 2755"/>
                <a:gd name="T20" fmla="*/ 46 w 1707"/>
                <a:gd name="T21" fmla="*/ 731 h 2755"/>
                <a:gd name="T22" fmla="*/ 973 w 1707"/>
                <a:gd name="T23" fmla="*/ 0 h 2755"/>
                <a:gd name="T24" fmla="*/ 1467 w 1707"/>
                <a:gd name="T25" fmla="*/ 69 h 2755"/>
                <a:gd name="T26" fmla="*/ 1467 w 1707"/>
                <a:gd name="T27" fmla="*/ 479 h 2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07" h="2755">
                  <a:moveTo>
                    <a:pt x="1467" y="479"/>
                  </a:moveTo>
                  <a:cubicBezTo>
                    <a:pt x="1467" y="479"/>
                    <a:pt x="1352" y="277"/>
                    <a:pt x="1019" y="276"/>
                  </a:cubicBezTo>
                  <a:cubicBezTo>
                    <a:pt x="686" y="275"/>
                    <a:pt x="505" y="450"/>
                    <a:pt x="504" y="677"/>
                  </a:cubicBezTo>
                  <a:cubicBezTo>
                    <a:pt x="503" y="934"/>
                    <a:pt x="696" y="1031"/>
                    <a:pt x="995" y="1174"/>
                  </a:cubicBezTo>
                  <a:cubicBezTo>
                    <a:pt x="1279" y="1311"/>
                    <a:pt x="1707" y="1499"/>
                    <a:pt x="1705" y="1974"/>
                  </a:cubicBezTo>
                  <a:cubicBezTo>
                    <a:pt x="1704" y="2399"/>
                    <a:pt x="1327" y="2755"/>
                    <a:pt x="651" y="2755"/>
                  </a:cubicBezTo>
                  <a:cubicBezTo>
                    <a:pt x="442" y="2754"/>
                    <a:pt x="155" y="2686"/>
                    <a:pt x="155" y="2686"/>
                  </a:cubicBezTo>
                  <a:cubicBezTo>
                    <a:pt x="0" y="2177"/>
                    <a:pt x="0" y="2177"/>
                    <a:pt x="0" y="2177"/>
                  </a:cubicBezTo>
                  <a:cubicBezTo>
                    <a:pt x="143" y="2316"/>
                    <a:pt x="397" y="2466"/>
                    <a:pt x="658" y="2466"/>
                  </a:cubicBezTo>
                  <a:cubicBezTo>
                    <a:pt x="929" y="2466"/>
                    <a:pt x="1252" y="2298"/>
                    <a:pt x="1252" y="2030"/>
                  </a:cubicBezTo>
                  <a:cubicBezTo>
                    <a:pt x="1252" y="1512"/>
                    <a:pt x="46" y="1598"/>
                    <a:pt x="46" y="731"/>
                  </a:cubicBezTo>
                  <a:cubicBezTo>
                    <a:pt x="46" y="433"/>
                    <a:pt x="254" y="0"/>
                    <a:pt x="973" y="0"/>
                  </a:cubicBezTo>
                  <a:cubicBezTo>
                    <a:pt x="1207" y="0"/>
                    <a:pt x="1467" y="69"/>
                    <a:pt x="1467" y="69"/>
                  </a:cubicBezTo>
                  <a:lnTo>
                    <a:pt x="1467" y="4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</p:grpSp>
      <p:sp>
        <p:nvSpPr>
          <p:cNvPr id="362538" name="Rectangle 42"/>
          <p:cNvSpPr>
            <a:spLocks noGrp="1" noChangeArrowheads="1"/>
          </p:cNvSpPr>
          <p:nvPr>
            <p:ph type="ftr" sz="quarter" idx="3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altLang="ja-JP"/>
              <a:t>Copyright 2020 FUJITSU LIMITED</a:t>
            </a:r>
          </a:p>
        </p:txBody>
      </p:sp>
      <p:sp>
        <p:nvSpPr>
          <p:cNvPr id="38" name="Rectangle 6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4300538" y="4937189"/>
            <a:ext cx="539750" cy="201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fontAlgn="base">
              <a:defRPr kumimoji="0" sz="800">
                <a:solidFill>
                  <a:schemeClr val="bg1"/>
                </a:solidFill>
              </a:defRPr>
            </a:lvl1pPr>
          </a:lstStyle>
          <a:p>
            <a:fld id="{2145D5DA-CF11-4C66-BB26-5DC06B07024B}" type="slidenum">
              <a:rPr lang="de-DE" altLang="ja-JP" smtClean="0"/>
              <a:pPr/>
              <a:t>‹#›</a:t>
            </a:fld>
            <a:endParaRPr lang="de-DE" altLang="ja-JP"/>
          </a:p>
        </p:txBody>
      </p:sp>
    </p:spTree>
    <p:extLst>
      <p:ext uri="{BB962C8B-B14F-4D97-AF65-F5344CB8AC3E}">
        <p14:creationId xmlns:p14="http://schemas.microsoft.com/office/powerpoint/2010/main" val="381780703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中表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" name="Group 23" descr="F_Tool_Middle_Cover"/>
          <p:cNvGrpSpPr>
            <a:grpSpLocks/>
          </p:cNvGrpSpPr>
          <p:nvPr userDrawn="1"/>
        </p:nvGrpSpPr>
        <p:grpSpPr bwMode="gray">
          <a:xfrm>
            <a:off x="0" y="0"/>
            <a:ext cx="9144000" cy="3028015"/>
            <a:chOff x="0" y="0"/>
            <a:chExt cx="5760" cy="1908"/>
          </a:xfrm>
        </p:grpSpPr>
        <p:pic>
          <p:nvPicPr>
            <p:cNvPr id="41" name="Picture 8" descr="MiddleGray_24_L150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0" y="0"/>
              <a:ext cx="5760" cy="19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42" name="Group 12"/>
            <p:cNvGrpSpPr>
              <a:grpSpLocks noChangeAspect="1"/>
            </p:cNvGrpSpPr>
            <p:nvPr/>
          </p:nvGrpSpPr>
          <p:grpSpPr bwMode="gray">
            <a:xfrm>
              <a:off x="4792" y="72"/>
              <a:ext cx="893" cy="499"/>
              <a:chOff x="4792" y="72"/>
              <a:chExt cx="893" cy="499"/>
            </a:xfrm>
          </p:grpSpPr>
          <p:sp>
            <p:nvSpPr>
              <p:cNvPr id="43" name="AutoShape 11"/>
              <p:cNvSpPr>
                <a:spLocks noChangeAspect="1" noChangeArrowheads="1" noTextEdit="1"/>
              </p:cNvSpPr>
              <p:nvPr/>
            </p:nvSpPr>
            <p:spPr bwMode="gray">
              <a:xfrm>
                <a:off x="4792" y="72"/>
                <a:ext cx="893" cy="4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/>
              </a:p>
            </p:txBody>
          </p:sp>
          <p:sp>
            <p:nvSpPr>
              <p:cNvPr id="44" name="Freeform 13"/>
              <p:cNvSpPr>
                <a:spLocks/>
              </p:cNvSpPr>
              <p:nvPr/>
            </p:nvSpPr>
            <p:spPr bwMode="gray">
              <a:xfrm>
                <a:off x="5232" y="157"/>
                <a:ext cx="113" cy="88"/>
              </a:xfrm>
              <a:custGeom>
                <a:avLst/>
                <a:gdLst>
                  <a:gd name="T0" fmla="*/ 961 w 2365"/>
                  <a:gd name="T1" fmla="*/ 764 h 1825"/>
                  <a:gd name="T2" fmla="*/ 599 w 2365"/>
                  <a:gd name="T3" fmla="*/ 642 h 1825"/>
                  <a:gd name="T4" fmla="*/ 1 w 2365"/>
                  <a:gd name="T5" fmla="*/ 1235 h 1825"/>
                  <a:gd name="T6" fmla="*/ 599 w 2365"/>
                  <a:gd name="T7" fmla="*/ 1825 h 1825"/>
                  <a:gd name="T8" fmla="*/ 1053 w 2365"/>
                  <a:gd name="T9" fmla="*/ 1619 h 1825"/>
                  <a:gd name="T10" fmla="*/ 1053 w 2365"/>
                  <a:gd name="T11" fmla="*/ 1293 h 1825"/>
                  <a:gd name="T12" fmla="*/ 771 w 2365"/>
                  <a:gd name="T13" fmla="*/ 1568 h 1825"/>
                  <a:gd name="T14" fmla="*/ 599 w 2365"/>
                  <a:gd name="T15" fmla="*/ 1604 h 1825"/>
                  <a:gd name="T16" fmla="*/ 225 w 2365"/>
                  <a:gd name="T17" fmla="*/ 1235 h 1825"/>
                  <a:gd name="T18" fmla="*/ 599 w 2365"/>
                  <a:gd name="T19" fmla="*/ 863 h 1825"/>
                  <a:gd name="T20" fmla="*/ 861 w 2365"/>
                  <a:gd name="T21" fmla="*/ 972 h 1825"/>
                  <a:gd name="T22" fmla="*/ 1093 w 2365"/>
                  <a:gd name="T23" fmla="*/ 1239 h 1825"/>
                  <a:gd name="T24" fmla="*/ 1630 w 2365"/>
                  <a:gd name="T25" fmla="*/ 1473 h 1825"/>
                  <a:gd name="T26" fmla="*/ 2365 w 2365"/>
                  <a:gd name="T27" fmla="*/ 741 h 1825"/>
                  <a:gd name="T28" fmla="*/ 1630 w 2365"/>
                  <a:gd name="T29" fmla="*/ 0 h 1825"/>
                  <a:gd name="T30" fmla="*/ 1053 w 2365"/>
                  <a:gd name="T31" fmla="*/ 295 h 1825"/>
                  <a:gd name="T32" fmla="*/ 1053 w 2365"/>
                  <a:gd name="T33" fmla="*/ 735 h 1825"/>
                  <a:gd name="T34" fmla="*/ 1630 w 2365"/>
                  <a:gd name="T35" fmla="*/ 232 h 1825"/>
                  <a:gd name="T36" fmla="*/ 2134 w 2365"/>
                  <a:gd name="T37" fmla="*/ 741 h 1825"/>
                  <a:gd name="T38" fmla="*/ 1630 w 2365"/>
                  <a:gd name="T39" fmla="*/ 1245 h 1825"/>
                  <a:gd name="T40" fmla="*/ 1303 w 2365"/>
                  <a:gd name="T41" fmla="*/ 1125 h 1825"/>
                  <a:gd name="T42" fmla="*/ 961 w 2365"/>
                  <a:gd name="T43" fmla="*/ 764 h 18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365" h="1825">
                    <a:moveTo>
                      <a:pt x="961" y="764"/>
                    </a:moveTo>
                    <a:cubicBezTo>
                      <a:pt x="875" y="688"/>
                      <a:pt x="736" y="643"/>
                      <a:pt x="599" y="642"/>
                    </a:cubicBezTo>
                    <a:cubicBezTo>
                      <a:pt x="270" y="641"/>
                      <a:pt x="2" y="900"/>
                      <a:pt x="1" y="1235"/>
                    </a:cubicBezTo>
                    <a:cubicBezTo>
                      <a:pt x="0" y="1563"/>
                      <a:pt x="270" y="1824"/>
                      <a:pt x="599" y="1825"/>
                    </a:cubicBezTo>
                    <a:cubicBezTo>
                      <a:pt x="783" y="1825"/>
                      <a:pt x="943" y="1751"/>
                      <a:pt x="1053" y="1619"/>
                    </a:cubicBezTo>
                    <a:cubicBezTo>
                      <a:pt x="1053" y="1293"/>
                      <a:pt x="1053" y="1293"/>
                      <a:pt x="1053" y="1293"/>
                    </a:cubicBezTo>
                    <a:cubicBezTo>
                      <a:pt x="994" y="1394"/>
                      <a:pt x="877" y="1524"/>
                      <a:pt x="771" y="1568"/>
                    </a:cubicBezTo>
                    <a:cubicBezTo>
                      <a:pt x="717" y="1590"/>
                      <a:pt x="662" y="1604"/>
                      <a:pt x="599" y="1604"/>
                    </a:cubicBezTo>
                    <a:cubicBezTo>
                      <a:pt x="394" y="1604"/>
                      <a:pt x="225" y="1445"/>
                      <a:pt x="225" y="1235"/>
                    </a:cubicBezTo>
                    <a:cubicBezTo>
                      <a:pt x="225" y="1041"/>
                      <a:pt x="380" y="862"/>
                      <a:pt x="599" y="863"/>
                    </a:cubicBezTo>
                    <a:cubicBezTo>
                      <a:pt x="701" y="863"/>
                      <a:pt x="793" y="905"/>
                      <a:pt x="861" y="972"/>
                    </a:cubicBezTo>
                    <a:cubicBezTo>
                      <a:pt x="931" y="1040"/>
                      <a:pt x="1041" y="1183"/>
                      <a:pt x="1093" y="1239"/>
                    </a:cubicBezTo>
                    <a:cubicBezTo>
                      <a:pt x="1227" y="1383"/>
                      <a:pt x="1419" y="1473"/>
                      <a:pt x="1630" y="1473"/>
                    </a:cubicBezTo>
                    <a:cubicBezTo>
                      <a:pt x="2036" y="1474"/>
                      <a:pt x="2365" y="1146"/>
                      <a:pt x="2365" y="741"/>
                    </a:cubicBezTo>
                    <a:cubicBezTo>
                      <a:pt x="2365" y="336"/>
                      <a:pt x="2035" y="0"/>
                      <a:pt x="1630" y="0"/>
                    </a:cubicBezTo>
                    <a:cubicBezTo>
                      <a:pt x="1395" y="0"/>
                      <a:pt x="1187" y="122"/>
                      <a:pt x="1053" y="295"/>
                    </a:cubicBezTo>
                    <a:cubicBezTo>
                      <a:pt x="1053" y="735"/>
                      <a:pt x="1053" y="735"/>
                      <a:pt x="1053" y="735"/>
                    </a:cubicBezTo>
                    <a:cubicBezTo>
                      <a:pt x="1155" y="455"/>
                      <a:pt x="1340" y="232"/>
                      <a:pt x="1630" y="232"/>
                    </a:cubicBezTo>
                    <a:cubicBezTo>
                      <a:pt x="1909" y="232"/>
                      <a:pt x="2135" y="463"/>
                      <a:pt x="2134" y="741"/>
                    </a:cubicBezTo>
                    <a:cubicBezTo>
                      <a:pt x="2134" y="1020"/>
                      <a:pt x="1909" y="1246"/>
                      <a:pt x="1630" y="1245"/>
                    </a:cubicBezTo>
                    <a:cubicBezTo>
                      <a:pt x="1506" y="1244"/>
                      <a:pt x="1391" y="1199"/>
                      <a:pt x="1303" y="1125"/>
                    </a:cubicBezTo>
                    <a:cubicBezTo>
                      <a:pt x="1194" y="1040"/>
                      <a:pt x="1074" y="860"/>
                      <a:pt x="961" y="764"/>
                    </a:cubicBezTo>
                  </a:path>
                </a:pathLst>
              </a:custGeom>
              <a:solidFill>
                <a:srgbClr val="FF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/>
              </a:p>
            </p:txBody>
          </p:sp>
          <p:sp>
            <p:nvSpPr>
              <p:cNvPr id="45" name="Freeform 14"/>
              <p:cNvSpPr>
                <a:spLocks/>
              </p:cNvSpPr>
              <p:nvPr/>
            </p:nvSpPr>
            <p:spPr bwMode="gray">
              <a:xfrm>
                <a:off x="5046" y="253"/>
                <a:ext cx="78" cy="127"/>
              </a:xfrm>
              <a:custGeom>
                <a:avLst/>
                <a:gdLst>
                  <a:gd name="T0" fmla="*/ 0 w 1624"/>
                  <a:gd name="T1" fmla="*/ 0 h 2651"/>
                  <a:gd name="T2" fmla="*/ 1624 w 1624"/>
                  <a:gd name="T3" fmla="*/ 0 h 2651"/>
                  <a:gd name="T4" fmla="*/ 1624 w 1624"/>
                  <a:gd name="T5" fmla="*/ 452 h 2651"/>
                  <a:gd name="T6" fmla="*/ 1365 w 1624"/>
                  <a:gd name="T7" fmla="*/ 273 h 2651"/>
                  <a:gd name="T8" fmla="*/ 613 w 1624"/>
                  <a:gd name="T9" fmla="*/ 273 h 2651"/>
                  <a:gd name="T10" fmla="*/ 613 w 1624"/>
                  <a:gd name="T11" fmla="*/ 1053 h 2651"/>
                  <a:gd name="T12" fmla="*/ 1428 w 1624"/>
                  <a:gd name="T13" fmla="*/ 1053 h 2651"/>
                  <a:gd name="T14" fmla="*/ 1428 w 1624"/>
                  <a:gd name="T15" fmla="*/ 1467 h 2651"/>
                  <a:gd name="T16" fmla="*/ 1205 w 1624"/>
                  <a:gd name="T17" fmla="*/ 1335 h 2651"/>
                  <a:gd name="T18" fmla="*/ 613 w 1624"/>
                  <a:gd name="T19" fmla="*/ 1335 h 2651"/>
                  <a:gd name="T20" fmla="*/ 613 w 1624"/>
                  <a:gd name="T21" fmla="*/ 2401 h 2651"/>
                  <a:gd name="T22" fmla="*/ 784 w 1624"/>
                  <a:gd name="T23" fmla="*/ 2651 h 2651"/>
                  <a:gd name="T24" fmla="*/ 11 w 1624"/>
                  <a:gd name="T25" fmla="*/ 2651 h 2651"/>
                  <a:gd name="T26" fmla="*/ 173 w 1624"/>
                  <a:gd name="T27" fmla="*/ 2401 h 2651"/>
                  <a:gd name="T28" fmla="*/ 173 w 1624"/>
                  <a:gd name="T29" fmla="*/ 278 h 2651"/>
                  <a:gd name="T30" fmla="*/ 0 w 1624"/>
                  <a:gd name="T31" fmla="*/ 0 h 26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624" h="2651">
                    <a:moveTo>
                      <a:pt x="0" y="0"/>
                    </a:moveTo>
                    <a:cubicBezTo>
                      <a:pt x="1624" y="0"/>
                      <a:pt x="1624" y="0"/>
                      <a:pt x="1624" y="0"/>
                    </a:cubicBezTo>
                    <a:cubicBezTo>
                      <a:pt x="1624" y="452"/>
                      <a:pt x="1624" y="452"/>
                      <a:pt x="1624" y="452"/>
                    </a:cubicBezTo>
                    <a:cubicBezTo>
                      <a:pt x="1624" y="452"/>
                      <a:pt x="1540" y="274"/>
                      <a:pt x="1365" y="273"/>
                    </a:cubicBezTo>
                    <a:cubicBezTo>
                      <a:pt x="613" y="273"/>
                      <a:pt x="613" y="273"/>
                      <a:pt x="613" y="273"/>
                    </a:cubicBezTo>
                    <a:cubicBezTo>
                      <a:pt x="613" y="1053"/>
                      <a:pt x="613" y="1053"/>
                      <a:pt x="613" y="1053"/>
                    </a:cubicBezTo>
                    <a:cubicBezTo>
                      <a:pt x="1428" y="1053"/>
                      <a:pt x="1428" y="1053"/>
                      <a:pt x="1428" y="1053"/>
                    </a:cubicBezTo>
                    <a:cubicBezTo>
                      <a:pt x="1428" y="1467"/>
                      <a:pt x="1428" y="1467"/>
                      <a:pt x="1428" y="1467"/>
                    </a:cubicBezTo>
                    <a:cubicBezTo>
                      <a:pt x="1428" y="1467"/>
                      <a:pt x="1402" y="1335"/>
                      <a:pt x="1205" y="1335"/>
                    </a:cubicBezTo>
                    <a:cubicBezTo>
                      <a:pt x="613" y="1335"/>
                      <a:pt x="613" y="1335"/>
                      <a:pt x="613" y="1335"/>
                    </a:cubicBezTo>
                    <a:cubicBezTo>
                      <a:pt x="613" y="2401"/>
                      <a:pt x="613" y="2401"/>
                      <a:pt x="613" y="2401"/>
                    </a:cubicBezTo>
                    <a:cubicBezTo>
                      <a:pt x="613" y="2558"/>
                      <a:pt x="784" y="2651"/>
                      <a:pt x="784" y="2651"/>
                    </a:cubicBezTo>
                    <a:cubicBezTo>
                      <a:pt x="11" y="2651"/>
                      <a:pt x="11" y="2651"/>
                      <a:pt x="11" y="2651"/>
                    </a:cubicBezTo>
                    <a:cubicBezTo>
                      <a:pt x="11" y="2651"/>
                      <a:pt x="173" y="2569"/>
                      <a:pt x="173" y="2401"/>
                    </a:cubicBezTo>
                    <a:cubicBezTo>
                      <a:pt x="173" y="278"/>
                      <a:pt x="173" y="278"/>
                      <a:pt x="173" y="278"/>
                    </a:cubicBezTo>
                    <a:cubicBezTo>
                      <a:pt x="173" y="99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FF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/>
              </a:p>
            </p:txBody>
          </p:sp>
          <p:sp>
            <p:nvSpPr>
              <p:cNvPr id="46" name="Freeform 15"/>
              <p:cNvSpPr>
                <a:spLocks/>
              </p:cNvSpPr>
              <p:nvPr/>
            </p:nvSpPr>
            <p:spPr bwMode="gray">
              <a:xfrm>
                <a:off x="5231" y="253"/>
                <a:ext cx="51" cy="178"/>
              </a:xfrm>
              <a:custGeom>
                <a:avLst/>
                <a:gdLst>
                  <a:gd name="T0" fmla="*/ 246 w 1072"/>
                  <a:gd name="T1" fmla="*/ 0 h 3696"/>
                  <a:gd name="T2" fmla="*/ 1072 w 1072"/>
                  <a:gd name="T3" fmla="*/ 0 h 3696"/>
                  <a:gd name="T4" fmla="*/ 887 w 1072"/>
                  <a:gd name="T5" fmla="*/ 230 h 3696"/>
                  <a:gd name="T6" fmla="*/ 887 w 1072"/>
                  <a:gd name="T7" fmla="*/ 2717 h 3696"/>
                  <a:gd name="T8" fmla="*/ 0 w 1072"/>
                  <a:gd name="T9" fmla="*/ 3693 h 3696"/>
                  <a:gd name="T10" fmla="*/ 423 w 1072"/>
                  <a:gd name="T11" fmla="*/ 2717 h 3696"/>
                  <a:gd name="T12" fmla="*/ 423 w 1072"/>
                  <a:gd name="T13" fmla="*/ 230 h 3696"/>
                  <a:gd name="T14" fmla="*/ 246 w 1072"/>
                  <a:gd name="T15" fmla="*/ 0 h 36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72" h="3696">
                    <a:moveTo>
                      <a:pt x="246" y="0"/>
                    </a:moveTo>
                    <a:cubicBezTo>
                      <a:pt x="1072" y="0"/>
                      <a:pt x="1072" y="0"/>
                      <a:pt x="1072" y="0"/>
                    </a:cubicBezTo>
                    <a:cubicBezTo>
                      <a:pt x="1072" y="0"/>
                      <a:pt x="887" y="87"/>
                      <a:pt x="887" y="230"/>
                    </a:cubicBezTo>
                    <a:cubicBezTo>
                      <a:pt x="887" y="2717"/>
                      <a:pt x="887" y="2717"/>
                      <a:pt x="887" y="2717"/>
                    </a:cubicBezTo>
                    <a:cubicBezTo>
                      <a:pt x="887" y="3558"/>
                      <a:pt x="44" y="3696"/>
                      <a:pt x="0" y="3693"/>
                    </a:cubicBezTo>
                    <a:cubicBezTo>
                      <a:pt x="72" y="3647"/>
                      <a:pt x="422" y="3349"/>
                      <a:pt x="423" y="2717"/>
                    </a:cubicBezTo>
                    <a:cubicBezTo>
                      <a:pt x="423" y="230"/>
                      <a:pt x="423" y="230"/>
                      <a:pt x="423" y="230"/>
                    </a:cubicBezTo>
                    <a:cubicBezTo>
                      <a:pt x="424" y="96"/>
                      <a:pt x="246" y="0"/>
                      <a:pt x="246" y="0"/>
                    </a:cubicBezTo>
                    <a:close/>
                  </a:path>
                </a:pathLst>
              </a:custGeom>
              <a:solidFill>
                <a:srgbClr val="FF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/>
              </a:p>
            </p:txBody>
          </p:sp>
          <p:sp>
            <p:nvSpPr>
              <p:cNvPr id="47" name="Freeform 16"/>
              <p:cNvSpPr>
                <a:spLocks/>
              </p:cNvSpPr>
              <p:nvPr/>
            </p:nvSpPr>
            <p:spPr bwMode="gray">
              <a:xfrm>
                <a:off x="5288" y="253"/>
                <a:ext cx="40" cy="127"/>
              </a:xfrm>
              <a:custGeom>
                <a:avLst/>
                <a:gdLst>
                  <a:gd name="T0" fmla="*/ 0 w 828"/>
                  <a:gd name="T1" fmla="*/ 0 h 2653"/>
                  <a:gd name="T2" fmla="*/ 828 w 828"/>
                  <a:gd name="T3" fmla="*/ 0 h 2653"/>
                  <a:gd name="T4" fmla="*/ 645 w 828"/>
                  <a:gd name="T5" fmla="*/ 235 h 2653"/>
                  <a:gd name="T6" fmla="*/ 645 w 828"/>
                  <a:gd name="T7" fmla="*/ 2401 h 2653"/>
                  <a:gd name="T8" fmla="*/ 828 w 828"/>
                  <a:gd name="T9" fmla="*/ 2653 h 2653"/>
                  <a:gd name="T10" fmla="*/ 0 w 828"/>
                  <a:gd name="T11" fmla="*/ 2653 h 2653"/>
                  <a:gd name="T12" fmla="*/ 184 w 828"/>
                  <a:gd name="T13" fmla="*/ 2401 h 2653"/>
                  <a:gd name="T14" fmla="*/ 184 w 828"/>
                  <a:gd name="T15" fmla="*/ 235 h 2653"/>
                  <a:gd name="T16" fmla="*/ 0 w 828"/>
                  <a:gd name="T17" fmla="*/ 0 h 26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28" h="2653">
                    <a:moveTo>
                      <a:pt x="0" y="0"/>
                    </a:moveTo>
                    <a:cubicBezTo>
                      <a:pt x="828" y="0"/>
                      <a:pt x="828" y="0"/>
                      <a:pt x="828" y="0"/>
                    </a:cubicBezTo>
                    <a:cubicBezTo>
                      <a:pt x="828" y="0"/>
                      <a:pt x="645" y="89"/>
                      <a:pt x="645" y="235"/>
                    </a:cubicBezTo>
                    <a:cubicBezTo>
                      <a:pt x="645" y="2401"/>
                      <a:pt x="645" y="2401"/>
                      <a:pt x="645" y="2401"/>
                    </a:cubicBezTo>
                    <a:cubicBezTo>
                      <a:pt x="645" y="2556"/>
                      <a:pt x="828" y="2653"/>
                      <a:pt x="828" y="2653"/>
                    </a:cubicBezTo>
                    <a:cubicBezTo>
                      <a:pt x="0" y="2653"/>
                      <a:pt x="0" y="2653"/>
                      <a:pt x="0" y="2653"/>
                    </a:cubicBezTo>
                    <a:cubicBezTo>
                      <a:pt x="0" y="2653"/>
                      <a:pt x="184" y="2557"/>
                      <a:pt x="184" y="2401"/>
                    </a:cubicBezTo>
                    <a:cubicBezTo>
                      <a:pt x="184" y="235"/>
                      <a:pt x="184" y="235"/>
                      <a:pt x="184" y="235"/>
                    </a:cubicBezTo>
                    <a:cubicBezTo>
                      <a:pt x="184" y="89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FF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/>
              </a:p>
            </p:txBody>
          </p:sp>
          <p:sp>
            <p:nvSpPr>
              <p:cNvPr id="48" name="Freeform 17"/>
              <p:cNvSpPr>
                <a:spLocks/>
              </p:cNvSpPr>
              <p:nvPr/>
            </p:nvSpPr>
            <p:spPr bwMode="gray">
              <a:xfrm>
                <a:off x="5328" y="253"/>
                <a:ext cx="95" cy="127"/>
              </a:xfrm>
              <a:custGeom>
                <a:avLst/>
                <a:gdLst>
                  <a:gd name="T0" fmla="*/ 161 w 1984"/>
                  <a:gd name="T1" fmla="*/ 0 h 2651"/>
                  <a:gd name="T2" fmla="*/ 1984 w 1984"/>
                  <a:gd name="T3" fmla="*/ 0 h 2651"/>
                  <a:gd name="T4" fmla="*/ 1829 w 1984"/>
                  <a:gd name="T5" fmla="*/ 482 h 2651"/>
                  <a:gd name="T6" fmla="*/ 1607 w 1984"/>
                  <a:gd name="T7" fmla="*/ 279 h 2651"/>
                  <a:gd name="T8" fmla="*/ 1229 w 1984"/>
                  <a:gd name="T9" fmla="*/ 279 h 2651"/>
                  <a:gd name="T10" fmla="*/ 1229 w 1984"/>
                  <a:gd name="T11" fmla="*/ 2401 h 2651"/>
                  <a:gd name="T12" fmla="*/ 1407 w 1984"/>
                  <a:gd name="T13" fmla="*/ 2651 h 2651"/>
                  <a:gd name="T14" fmla="*/ 595 w 1984"/>
                  <a:gd name="T15" fmla="*/ 2651 h 2651"/>
                  <a:gd name="T16" fmla="*/ 771 w 1984"/>
                  <a:gd name="T17" fmla="*/ 2401 h 2651"/>
                  <a:gd name="T18" fmla="*/ 771 w 1984"/>
                  <a:gd name="T19" fmla="*/ 279 h 2651"/>
                  <a:gd name="T20" fmla="*/ 315 w 1984"/>
                  <a:gd name="T21" fmla="*/ 279 h 2651"/>
                  <a:gd name="T22" fmla="*/ 0 w 1984"/>
                  <a:gd name="T23" fmla="*/ 522 h 2651"/>
                  <a:gd name="T24" fmla="*/ 161 w 1984"/>
                  <a:gd name="T25" fmla="*/ 0 h 26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84" h="2651">
                    <a:moveTo>
                      <a:pt x="161" y="0"/>
                    </a:moveTo>
                    <a:cubicBezTo>
                      <a:pt x="1984" y="0"/>
                      <a:pt x="1984" y="0"/>
                      <a:pt x="1984" y="0"/>
                    </a:cubicBezTo>
                    <a:cubicBezTo>
                      <a:pt x="1829" y="482"/>
                      <a:pt x="1829" y="482"/>
                      <a:pt x="1829" y="482"/>
                    </a:cubicBezTo>
                    <a:cubicBezTo>
                      <a:pt x="1829" y="482"/>
                      <a:pt x="1783" y="279"/>
                      <a:pt x="1607" y="279"/>
                    </a:cubicBezTo>
                    <a:cubicBezTo>
                      <a:pt x="1229" y="279"/>
                      <a:pt x="1229" y="279"/>
                      <a:pt x="1229" y="279"/>
                    </a:cubicBezTo>
                    <a:cubicBezTo>
                      <a:pt x="1229" y="2401"/>
                      <a:pt x="1229" y="2401"/>
                      <a:pt x="1229" y="2401"/>
                    </a:cubicBezTo>
                    <a:cubicBezTo>
                      <a:pt x="1229" y="2535"/>
                      <a:pt x="1407" y="2651"/>
                      <a:pt x="1407" y="2651"/>
                    </a:cubicBezTo>
                    <a:cubicBezTo>
                      <a:pt x="595" y="2651"/>
                      <a:pt x="595" y="2651"/>
                      <a:pt x="595" y="2651"/>
                    </a:cubicBezTo>
                    <a:cubicBezTo>
                      <a:pt x="595" y="2651"/>
                      <a:pt x="771" y="2547"/>
                      <a:pt x="771" y="2401"/>
                    </a:cubicBezTo>
                    <a:cubicBezTo>
                      <a:pt x="771" y="279"/>
                      <a:pt x="771" y="279"/>
                      <a:pt x="771" y="279"/>
                    </a:cubicBezTo>
                    <a:cubicBezTo>
                      <a:pt x="315" y="279"/>
                      <a:pt x="315" y="279"/>
                      <a:pt x="315" y="279"/>
                    </a:cubicBezTo>
                    <a:cubicBezTo>
                      <a:pt x="185" y="280"/>
                      <a:pt x="0" y="522"/>
                      <a:pt x="0" y="522"/>
                    </a:cubicBezTo>
                    <a:lnTo>
                      <a:pt x="161" y="0"/>
                    </a:lnTo>
                    <a:close/>
                  </a:path>
                </a:pathLst>
              </a:custGeom>
              <a:solidFill>
                <a:srgbClr val="FF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/>
              </a:p>
            </p:txBody>
          </p:sp>
          <p:sp>
            <p:nvSpPr>
              <p:cNvPr id="49" name="Freeform 18"/>
              <p:cNvSpPr>
                <a:spLocks/>
              </p:cNvSpPr>
              <p:nvPr/>
            </p:nvSpPr>
            <p:spPr bwMode="gray">
              <a:xfrm>
                <a:off x="5501" y="253"/>
                <a:ext cx="107" cy="129"/>
              </a:xfrm>
              <a:custGeom>
                <a:avLst/>
                <a:gdLst>
                  <a:gd name="T0" fmla="*/ 1420 w 2219"/>
                  <a:gd name="T1" fmla="*/ 0 h 2693"/>
                  <a:gd name="T2" fmla="*/ 2219 w 2219"/>
                  <a:gd name="T3" fmla="*/ 0 h 2693"/>
                  <a:gd name="T4" fmla="*/ 2048 w 2219"/>
                  <a:gd name="T5" fmla="*/ 234 h 2693"/>
                  <a:gd name="T6" fmla="*/ 2048 w 2219"/>
                  <a:gd name="T7" fmla="*/ 1840 h 2693"/>
                  <a:gd name="T8" fmla="*/ 1131 w 2219"/>
                  <a:gd name="T9" fmla="*/ 2693 h 2693"/>
                  <a:gd name="T10" fmla="*/ 176 w 2219"/>
                  <a:gd name="T11" fmla="*/ 1840 h 2693"/>
                  <a:gd name="T12" fmla="*/ 176 w 2219"/>
                  <a:gd name="T13" fmla="*/ 234 h 2693"/>
                  <a:gd name="T14" fmla="*/ 0 w 2219"/>
                  <a:gd name="T15" fmla="*/ 0 h 2693"/>
                  <a:gd name="T16" fmla="*/ 821 w 2219"/>
                  <a:gd name="T17" fmla="*/ 0 h 2693"/>
                  <a:gd name="T18" fmla="*/ 638 w 2219"/>
                  <a:gd name="T19" fmla="*/ 234 h 2693"/>
                  <a:gd name="T20" fmla="*/ 638 w 2219"/>
                  <a:gd name="T21" fmla="*/ 1840 h 2693"/>
                  <a:gd name="T22" fmla="*/ 1131 w 2219"/>
                  <a:gd name="T23" fmla="*/ 2406 h 2693"/>
                  <a:gd name="T24" fmla="*/ 1601 w 2219"/>
                  <a:gd name="T25" fmla="*/ 1840 h 2693"/>
                  <a:gd name="T26" fmla="*/ 1601 w 2219"/>
                  <a:gd name="T27" fmla="*/ 234 h 2693"/>
                  <a:gd name="T28" fmla="*/ 1420 w 2219"/>
                  <a:gd name="T29" fmla="*/ 0 h 26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219" h="2693">
                    <a:moveTo>
                      <a:pt x="1420" y="0"/>
                    </a:moveTo>
                    <a:cubicBezTo>
                      <a:pt x="2219" y="0"/>
                      <a:pt x="2219" y="0"/>
                      <a:pt x="2219" y="0"/>
                    </a:cubicBezTo>
                    <a:cubicBezTo>
                      <a:pt x="2219" y="0"/>
                      <a:pt x="2048" y="91"/>
                      <a:pt x="2048" y="234"/>
                    </a:cubicBezTo>
                    <a:cubicBezTo>
                      <a:pt x="2048" y="1840"/>
                      <a:pt x="2048" y="1840"/>
                      <a:pt x="2048" y="1840"/>
                    </a:cubicBezTo>
                    <a:cubicBezTo>
                      <a:pt x="2047" y="2492"/>
                      <a:pt x="1506" y="2693"/>
                      <a:pt x="1131" y="2693"/>
                    </a:cubicBezTo>
                    <a:cubicBezTo>
                      <a:pt x="759" y="2693"/>
                      <a:pt x="175" y="2490"/>
                      <a:pt x="176" y="1840"/>
                    </a:cubicBezTo>
                    <a:cubicBezTo>
                      <a:pt x="176" y="234"/>
                      <a:pt x="176" y="234"/>
                      <a:pt x="176" y="234"/>
                    </a:cubicBezTo>
                    <a:cubicBezTo>
                      <a:pt x="176" y="91"/>
                      <a:pt x="0" y="0"/>
                      <a:pt x="0" y="0"/>
                    </a:cubicBezTo>
                    <a:cubicBezTo>
                      <a:pt x="821" y="0"/>
                      <a:pt x="821" y="0"/>
                      <a:pt x="821" y="0"/>
                    </a:cubicBezTo>
                    <a:cubicBezTo>
                      <a:pt x="821" y="0"/>
                      <a:pt x="638" y="88"/>
                      <a:pt x="638" y="234"/>
                    </a:cubicBezTo>
                    <a:cubicBezTo>
                      <a:pt x="638" y="1840"/>
                      <a:pt x="638" y="1840"/>
                      <a:pt x="638" y="1840"/>
                    </a:cubicBezTo>
                    <a:cubicBezTo>
                      <a:pt x="638" y="2182"/>
                      <a:pt x="865" y="2406"/>
                      <a:pt x="1131" y="2406"/>
                    </a:cubicBezTo>
                    <a:cubicBezTo>
                      <a:pt x="1397" y="2406"/>
                      <a:pt x="1600" y="2173"/>
                      <a:pt x="1601" y="1840"/>
                    </a:cubicBezTo>
                    <a:cubicBezTo>
                      <a:pt x="1601" y="234"/>
                      <a:pt x="1601" y="234"/>
                      <a:pt x="1601" y="234"/>
                    </a:cubicBezTo>
                    <a:cubicBezTo>
                      <a:pt x="1601" y="91"/>
                      <a:pt x="1420" y="0"/>
                      <a:pt x="1420" y="0"/>
                    </a:cubicBezTo>
                    <a:close/>
                  </a:path>
                </a:pathLst>
              </a:custGeom>
              <a:solidFill>
                <a:srgbClr val="FF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/>
              </a:p>
            </p:txBody>
          </p:sp>
          <p:sp>
            <p:nvSpPr>
              <p:cNvPr id="50" name="Freeform 19"/>
              <p:cNvSpPr>
                <a:spLocks/>
              </p:cNvSpPr>
              <p:nvPr/>
            </p:nvSpPr>
            <p:spPr bwMode="gray">
              <a:xfrm>
                <a:off x="5128" y="253"/>
                <a:ext cx="107" cy="130"/>
              </a:xfrm>
              <a:custGeom>
                <a:avLst/>
                <a:gdLst>
                  <a:gd name="T0" fmla="*/ 1427 w 2240"/>
                  <a:gd name="T1" fmla="*/ 0 h 2700"/>
                  <a:gd name="T2" fmla="*/ 2240 w 2240"/>
                  <a:gd name="T3" fmla="*/ 0 h 2700"/>
                  <a:gd name="T4" fmla="*/ 2068 w 2240"/>
                  <a:gd name="T5" fmla="*/ 237 h 2700"/>
                  <a:gd name="T6" fmla="*/ 2067 w 2240"/>
                  <a:gd name="T7" fmla="*/ 1838 h 2700"/>
                  <a:gd name="T8" fmla="*/ 1122 w 2240"/>
                  <a:gd name="T9" fmla="*/ 2700 h 2700"/>
                  <a:gd name="T10" fmla="*/ 166 w 2240"/>
                  <a:gd name="T11" fmla="*/ 1838 h 2700"/>
                  <a:gd name="T12" fmla="*/ 166 w 2240"/>
                  <a:gd name="T13" fmla="*/ 237 h 2700"/>
                  <a:gd name="T14" fmla="*/ 0 w 2240"/>
                  <a:gd name="T15" fmla="*/ 0 h 2700"/>
                  <a:gd name="T16" fmla="*/ 821 w 2240"/>
                  <a:gd name="T17" fmla="*/ 0 h 2700"/>
                  <a:gd name="T18" fmla="*/ 631 w 2240"/>
                  <a:gd name="T19" fmla="*/ 237 h 2700"/>
                  <a:gd name="T20" fmla="*/ 630 w 2240"/>
                  <a:gd name="T21" fmla="*/ 1838 h 2700"/>
                  <a:gd name="T22" fmla="*/ 1122 w 2240"/>
                  <a:gd name="T23" fmla="*/ 2413 h 2700"/>
                  <a:gd name="T24" fmla="*/ 1602 w 2240"/>
                  <a:gd name="T25" fmla="*/ 1838 h 2700"/>
                  <a:gd name="T26" fmla="*/ 1603 w 2240"/>
                  <a:gd name="T27" fmla="*/ 237 h 2700"/>
                  <a:gd name="T28" fmla="*/ 1427 w 2240"/>
                  <a:gd name="T29" fmla="*/ 0 h 27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240" h="2700">
                    <a:moveTo>
                      <a:pt x="1427" y="0"/>
                    </a:moveTo>
                    <a:cubicBezTo>
                      <a:pt x="2240" y="0"/>
                      <a:pt x="2240" y="0"/>
                      <a:pt x="2240" y="0"/>
                    </a:cubicBezTo>
                    <a:cubicBezTo>
                      <a:pt x="2240" y="0"/>
                      <a:pt x="2068" y="95"/>
                      <a:pt x="2068" y="237"/>
                    </a:cubicBezTo>
                    <a:cubicBezTo>
                      <a:pt x="2068" y="238"/>
                      <a:pt x="2067" y="1838"/>
                      <a:pt x="2067" y="1838"/>
                    </a:cubicBezTo>
                    <a:cubicBezTo>
                      <a:pt x="2067" y="2494"/>
                      <a:pt x="1501" y="2700"/>
                      <a:pt x="1122" y="2700"/>
                    </a:cubicBezTo>
                    <a:cubicBezTo>
                      <a:pt x="750" y="2700"/>
                      <a:pt x="166" y="2491"/>
                      <a:pt x="166" y="1838"/>
                    </a:cubicBezTo>
                    <a:cubicBezTo>
                      <a:pt x="166" y="237"/>
                      <a:pt x="166" y="237"/>
                      <a:pt x="166" y="237"/>
                    </a:cubicBezTo>
                    <a:cubicBezTo>
                      <a:pt x="166" y="94"/>
                      <a:pt x="0" y="0"/>
                      <a:pt x="0" y="0"/>
                    </a:cubicBezTo>
                    <a:cubicBezTo>
                      <a:pt x="821" y="0"/>
                      <a:pt x="821" y="0"/>
                      <a:pt x="821" y="0"/>
                    </a:cubicBezTo>
                    <a:cubicBezTo>
                      <a:pt x="821" y="0"/>
                      <a:pt x="631" y="94"/>
                      <a:pt x="631" y="237"/>
                    </a:cubicBezTo>
                    <a:cubicBezTo>
                      <a:pt x="630" y="1838"/>
                      <a:pt x="630" y="1838"/>
                      <a:pt x="630" y="1838"/>
                    </a:cubicBezTo>
                    <a:cubicBezTo>
                      <a:pt x="630" y="2178"/>
                      <a:pt x="856" y="2412"/>
                      <a:pt x="1122" y="2413"/>
                    </a:cubicBezTo>
                    <a:cubicBezTo>
                      <a:pt x="1388" y="2414"/>
                      <a:pt x="1602" y="2174"/>
                      <a:pt x="1602" y="1838"/>
                    </a:cubicBezTo>
                    <a:cubicBezTo>
                      <a:pt x="1603" y="237"/>
                      <a:pt x="1603" y="237"/>
                      <a:pt x="1603" y="237"/>
                    </a:cubicBezTo>
                    <a:cubicBezTo>
                      <a:pt x="1603" y="94"/>
                      <a:pt x="1427" y="0"/>
                      <a:pt x="1427" y="0"/>
                    </a:cubicBezTo>
                    <a:close/>
                  </a:path>
                </a:pathLst>
              </a:custGeom>
              <a:solidFill>
                <a:srgbClr val="FF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/>
              </a:p>
            </p:txBody>
          </p:sp>
          <p:sp>
            <p:nvSpPr>
              <p:cNvPr id="51" name="Freeform 20"/>
              <p:cNvSpPr>
                <a:spLocks/>
              </p:cNvSpPr>
              <p:nvPr/>
            </p:nvSpPr>
            <p:spPr bwMode="gray">
              <a:xfrm>
                <a:off x="5419" y="250"/>
                <a:ext cx="82" cy="133"/>
              </a:xfrm>
              <a:custGeom>
                <a:avLst/>
                <a:gdLst>
                  <a:gd name="T0" fmla="*/ 1467 w 1707"/>
                  <a:gd name="T1" fmla="*/ 479 h 2755"/>
                  <a:gd name="T2" fmla="*/ 1019 w 1707"/>
                  <a:gd name="T3" fmla="*/ 276 h 2755"/>
                  <a:gd name="T4" fmla="*/ 504 w 1707"/>
                  <a:gd name="T5" fmla="*/ 677 h 2755"/>
                  <a:gd name="T6" fmla="*/ 995 w 1707"/>
                  <a:gd name="T7" fmla="*/ 1174 h 2755"/>
                  <a:gd name="T8" fmla="*/ 1705 w 1707"/>
                  <a:gd name="T9" fmla="*/ 1974 h 2755"/>
                  <a:gd name="T10" fmla="*/ 651 w 1707"/>
                  <a:gd name="T11" fmla="*/ 2755 h 2755"/>
                  <a:gd name="T12" fmla="*/ 155 w 1707"/>
                  <a:gd name="T13" fmla="*/ 2686 h 2755"/>
                  <a:gd name="T14" fmla="*/ 0 w 1707"/>
                  <a:gd name="T15" fmla="*/ 2177 h 2755"/>
                  <a:gd name="T16" fmla="*/ 658 w 1707"/>
                  <a:gd name="T17" fmla="*/ 2466 h 2755"/>
                  <a:gd name="T18" fmla="*/ 1252 w 1707"/>
                  <a:gd name="T19" fmla="*/ 2030 h 2755"/>
                  <a:gd name="T20" fmla="*/ 46 w 1707"/>
                  <a:gd name="T21" fmla="*/ 731 h 2755"/>
                  <a:gd name="T22" fmla="*/ 973 w 1707"/>
                  <a:gd name="T23" fmla="*/ 0 h 2755"/>
                  <a:gd name="T24" fmla="*/ 1467 w 1707"/>
                  <a:gd name="T25" fmla="*/ 69 h 2755"/>
                  <a:gd name="T26" fmla="*/ 1467 w 1707"/>
                  <a:gd name="T27" fmla="*/ 479 h 27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707" h="2755">
                    <a:moveTo>
                      <a:pt x="1467" y="479"/>
                    </a:moveTo>
                    <a:cubicBezTo>
                      <a:pt x="1467" y="479"/>
                      <a:pt x="1352" y="277"/>
                      <a:pt x="1019" y="276"/>
                    </a:cubicBezTo>
                    <a:cubicBezTo>
                      <a:pt x="686" y="275"/>
                      <a:pt x="505" y="450"/>
                      <a:pt x="504" y="677"/>
                    </a:cubicBezTo>
                    <a:cubicBezTo>
                      <a:pt x="503" y="934"/>
                      <a:pt x="696" y="1031"/>
                      <a:pt x="995" y="1174"/>
                    </a:cubicBezTo>
                    <a:cubicBezTo>
                      <a:pt x="1279" y="1311"/>
                      <a:pt x="1707" y="1499"/>
                      <a:pt x="1705" y="1974"/>
                    </a:cubicBezTo>
                    <a:cubicBezTo>
                      <a:pt x="1704" y="2399"/>
                      <a:pt x="1327" y="2755"/>
                      <a:pt x="651" y="2755"/>
                    </a:cubicBezTo>
                    <a:cubicBezTo>
                      <a:pt x="442" y="2754"/>
                      <a:pt x="155" y="2686"/>
                      <a:pt x="155" y="2686"/>
                    </a:cubicBezTo>
                    <a:cubicBezTo>
                      <a:pt x="0" y="2177"/>
                      <a:pt x="0" y="2177"/>
                      <a:pt x="0" y="2177"/>
                    </a:cubicBezTo>
                    <a:cubicBezTo>
                      <a:pt x="143" y="2316"/>
                      <a:pt x="397" y="2466"/>
                      <a:pt x="658" y="2466"/>
                    </a:cubicBezTo>
                    <a:cubicBezTo>
                      <a:pt x="929" y="2466"/>
                      <a:pt x="1252" y="2298"/>
                      <a:pt x="1252" y="2030"/>
                    </a:cubicBezTo>
                    <a:cubicBezTo>
                      <a:pt x="1252" y="1512"/>
                      <a:pt x="46" y="1598"/>
                      <a:pt x="46" y="731"/>
                    </a:cubicBezTo>
                    <a:cubicBezTo>
                      <a:pt x="46" y="433"/>
                      <a:pt x="254" y="0"/>
                      <a:pt x="973" y="0"/>
                    </a:cubicBezTo>
                    <a:cubicBezTo>
                      <a:pt x="1207" y="0"/>
                      <a:pt x="1467" y="69"/>
                      <a:pt x="1467" y="69"/>
                    </a:cubicBezTo>
                    <a:lnTo>
                      <a:pt x="1467" y="479"/>
                    </a:lnTo>
                    <a:close/>
                  </a:path>
                </a:pathLst>
              </a:custGeom>
              <a:solidFill>
                <a:srgbClr val="FF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/>
              </a:p>
            </p:txBody>
          </p:sp>
        </p:grpSp>
      </p:grpSp>
      <p:sp>
        <p:nvSpPr>
          <p:cNvPr id="362499" name="Rectangle 3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233363" y="1347992"/>
            <a:ext cx="8280000" cy="1048868"/>
          </a:xfrm>
          <a:extLs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C0C0C0"/>
                  </a:outerShdw>
                </a:effectLst>
              </a14:hiddenEffects>
            </a:ext>
          </a:extLst>
        </p:spPr>
        <p:txBody>
          <a:bodyPr anchor="b"/>
          <a:lstStyle>
            <a:lvl1pPr>
              <a:lnSpc>
                <a:spcPct val="100000"/>
              </a:lnSpc>
              <a:defRPr sz="3200">
                <a:solidFill>
                  <a:schemeClr val="tx1"/>
                </a:solidFill>
              </a:defRPr>
            </a:lvl1pPr>
          </a:lstStyle>
          <a:p>
            <a:pPr lvl="0"/>
            <a:r>
              <a:rPr lang="ja-JP" altLang="en-US" noProof="0"/>
              <a:t>マスタ タイトルの書式設定</a:t>
            </a:r>
          </a:p>
        </p:txBody>
      </p:sp>
      <p:sp>
        <p:nvSpPr>
          <p:cNvPr id="362500" name="Rectangle 4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233363" y="2727957"/>
            <a:ext cx="8280000" cy="2010731"/>
          </a:xfrm>
        </p:spPr>
        <p:txBody>
          <a:bodyPr anchor="t" anchorCtr="0"/>
          <a:lstStyle>
            <a:lvl1pPr marL="271463" marR="0" indent="-271463" algn="l" defTabSz="809625" rtl="0" eaLnBrk="1" fontAlgn="ctr" latinLnBrk="0" hangingPunct="1">
              <a:lnSpc>
                <a:spcPct val="100000"/>
              </a:lnSpc>
              <a:spcBef>
                <a:spcPct val="10000"/>
              </a:spcBef>
              <a:spcAft>
                <a:spcPct val="10000"/>
              </a:spcAft>
              <a:buClr>
                <a:srgbClr val="87867E"/>
              </a:buClr>
              <a:buSzTx/>
              <a:buFont typeface="Wingdings" pitchFamily="2" charset="2"/>
              <a:buChar char="n"/>
              <a:tabLst/>
              <a:defRPr kumimoji="0" sz="2200">
                <a:solidFill>
                  <a:schemeClr val="tx1"/>
                </a:solidFill>
                <a:latin typeface="+mj-lt"/>
              </a:defRPr>
            </a:lvl1pPr>
          </a:lstStyle>
          <a:p>
            <a:pPr marL="271463" marR="0" lvl="0" indent="-271463" algn="l" defTabSz="809625" rtl="0" eaLnBrk="1" fontAlgn="ctr" latinLnBrk="0" hangingPunct="1"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Clr>
                <a:srgbClr val="87867E"/>
              </a:buClr>
              <a:buSzTx/>
              <a:buFont typeface="Wingdings" pitchFamily="2" charset="2"/>
              <a:buChar char="n"/>
              <a:tabLst/>
              <a:defRPr/>
            </a:pPr>
            <a:r>
              <a:rPr kumimoji="1" lang="ja-JP" altLang="en-US" sz="2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</a:rPr>
              <a:t>マスタ サブタイトルの書式設定</a:t>
            </a:r>
            <a:endParaRPr kumimoji="1" lang="ja-JP" altLang="de-DE" sz="2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</a:endParaRPr>
          </a:p>
        </p:txBody>
      </p:sp>
      <p:sp>
        <p:nvSpPr>
          <p:cNvPr id="362538" name="Rectangle 42"/>
          <p:cNvSpPr>
            <a:spLocks noGrp="1" noChangeArrowheads="1"/>
          </p:cNvSpPr>
          <p:nvPr>
            <p:ph type="ftr" sz="quarter" idx="3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altLang="ja-JP"/>
              <a:t>Copyright 2020 FUJITSU LIMITED</a:t>
            </a:r>
          </a:p>
        </p:txBody>
      </p:sp>
      <p:sp>
        <p:nvSpPr>
          <p:cNvPr id="38" name="Rectangle 6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4300538" y="4937189"/>
            <a:ext cx="539750" cy="201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fontAlgn="base">
              <a:defRPr kumimoji="0" sz="800">
                <a:solidFill>
                  <a:schemeClr val="tx1"/>
                </a:solidFill>
              </a:defRPr>
            </a:lvl1pPr>
          </a:lstStyle>
          <a:p>
            <a:fld id="{2145D5DA-CF11-4C66-BB26-5DC06B07024B}" type="slidenum">
              <a:rPr lang="de-DE" altLang="ja-JP"/>
              <a:pPr/>
              <a:t>‹#›</a:t>
            </a:fld>
            <a:endParaRPr lang="de-DE" altLang="ja-JP"/>
          </a:p>
        </p:txBody>
      </p:sp>
      <p:sp>
        <p:nvSpPr>
          <p:cNvPr id="18" name="Line 4"/>
          <p:cNvSpPr>
            <a:spLocks noChangeShapeType="1"/>
          </p:cNvSpPr>
          <p:nvPr userDrawn="1"/>
        </p:nvSpPr>
        <p:spPr bwMode="gray">
          <a:xfrm>
            <a:off x="0" y="4918840"/>
            <a:ext cx="9144000" cy="0"/>
          </a:xfrm>
          <a:prstGeom prst="line">
            <a:avLst/>
          </a:prstGeom>
          <a:noFill/>
          <a:ln w="12700">
            <a:solidFill>
              <a:srgbClr val="87867E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77506420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30400" y="950400"/>
            <a:ext cx="4280400" cy="3787200"/>
          </a:xfrm>
        </p:spPr>
        <p:txBody>
          <a:bodyPr/>
          <a:lstStyle>
            <a:lvl4pPr>
              <a:defRPr sz="1120"/>
            </a:lvl4pPr>
            <a:lvl5pPr>
              <a:defRPr sz="1120"/>
            </a:lvl5pPr>
            <a:lvl6pPr>
              <a:defRPr sz="1120"/>
            </a:lvl6pPr>
            <a:lvl7pPr>
              <a:defRPr sz="1120"/>
            </a:lvl7pPr>
            <a:lvl8pPr>
              <a:defRPr sz="1120"/>
            </a:lvl8pPr>
            <a:lvl9pPr>
              <a:defRPr sz="1120"/>
            </a:lvl9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altLang="ja-JP"/>
          </a:p>
          <a:p>
            <a:pPr lvl="5"/>
            <a:r>
              <a:rPr lang="ja-JP" altLang="en-US"/>
              <a:t>テキスト</a:t>
            </a:r>
            <a:endParaRPr lang="en-US" altLang="ja-JP"/>
          </a:p>
          <a:p>
            <a:pPr lvl="6"/>
            <a:r>
              <a:rPr lang="ja-JP" altLang="en-US"/>
              <a:t>テキスト</a:t>
            </a:r>
            <a:endParaRPr lang="en-US" altLang="ja-JP"/>
          </a:p>
          <a:p>
            <a:pPr lvl="7"/>
            <a:r>
              <a:rPr lang="ja-JP" altLang="en-US"/>
              <a:t>テキスト</a:t>
            </a:r>
            <a:endParaRPr lang="en-US" altLang="ja-JP"/>
          </a:p>
          <a:p>
            <a:pPr lvl="8"/>
            <a:r>
              <a:rPr lang="ja-JP" altLang="en-US"/>
              <a:t>テキスト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600" y="950400"/>
            <a:ext cx="4280400" cy="3787200"/>
          </a:xfrm>
        </p:spPr>
        <p:txBody>
          <a:bodyPr/>
          <a:lstStyle>
            <a:lvl4pPr>
              <a:defRPr sz="1120"/>
            </a:lvl4pPr>
            <a:lvl5pPr>
              <a:defRPr sz="1120"/>
            </a:lvl5pPr>
            <a:lvl6pPr>
              <a:defRPr sz="1120"/>
            </a:lvl6pPr>
            <a:lvl7pPr>
              <a:defRPr sz="1120"/>
            </a:lvl7pPr>
            <a:lvl8pPr>
              <a:defRPr sz="1120"/>
            </a:lvl8pPr>
            <a:lvl9pPr>
              <a:defRPr sz="1120"/>
            </a:lvl9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altLang="ja-JP"/>
          </a:p>
          <a:p>
            <a:pPr lvl="5"/>
            <a:r>
              <a:rPr lang="ja-JP" altLang="en-US"/>
              <a:t>テキスト</a:t>
            </a:r>
            <a:endParaRPr lang="en-US" altLang="ja-JP"/>
          </a:p>
          <a:p>
            <a:pPr lvl="6"/>
            <a:r>
              <a:rPr lang="ja-JP" altLang="en-US"/>
              <a:t>テキスト</a:t>
            </a:r>
            <a:endParaRPr lang="en-US" altLang="ja-JP"/>
          </a:p>
          <a:p>
            <a:pPr lvl="7"/>
            <a:r>
              <a:rPr lang="ja-JP" altLang="en-US"/>
              <a:t>テキスト</a:t>
            </a:r>
            <a:endParaRPr lang="en-US" altLang="ja-JP"/>
          </a:p>
          <a:p>
            <a:pPr lvl="8"/>
            <a:r>
              <a:rPr lang="ja-JP" altLang="en-US"/>
              <a:t>テキスト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kumimoji="1" lang="en-US" altLang="ja-JP"/>
              <a:t>© 2021 Fujitsu Limited</a:t>
            </a:r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4302000" y="4878000"/>
            <a:ext cx="540000" cy="122400"/>
          </a:xfrm>
          <a:prstGeom prst="rect">
            <a:avLst/>
          </a:prstGeom>
        </p:spPr>
        <p:txBody>
          <a:bodyPr/>
          <a:lstStyle/>
          <a:p>
            <a:fld id="{4D029D89-7B63-4C94-AD4D-2E4D6BB83637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146358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altLang="ja-JP"/>
              <a:t>Copyright 2020 FUJITSU LIMITED</a:t>
            </a:r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fld id="{C1C4E512-0C63-49C4-B8A6-86EFFB7A3CB6}" type="slidenum">
              <a:rPr lang="de-DE" altLang="ja-JP"/>
              <a:pPr/>
              <a:t>‹#›</a:t>
            </a:fld>
            <a:endParaRPr lang="de-DE" altLang="ja-JP"/>
          </a:p>
        </p:txBody>
      </p:sp>
    </p:spTree>
    <p:extLst>
      <p:ext uri="{BB962C8B-B14F-4D97-AF65-F5344CB8AC3E}">
        <p14:creationId xmlns:p14="http://schemas.microsoft.com/office/powerpoint/2010/main" val="267686832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sz="half" idx="1"/>
          </p:nvPr>
        </p:nvSpPr>
        <p:spPr bwMode="gray">
          <a:xfrm>
            <a:off x="233363" y="880793"/>
            <a:ext cx="4246562" cy="3858020"/>
          </a:xfr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 bwMode="gray">
          <a:xfrm>
            <a:off x="4632326" y="880793"/>
            <a:ext cx="4246563" cy="3858020"/>
          </a:xfr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altLang="ja-JP"/>
              <a:t>Copyright 2020 FUJITSU LIMITED</a:t>
            </a:r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fld id="{34A46DBC-526E-4019-B245-D43DF9034DC2}" type="slidenum">
              <a:rPr lang="de-DE" altLang="ja-JP"/>
              <a:pPr/>
              <a:t>‹#›</a:t>
            </a:fld>
            <a:endParaRPr lang="de-DE" altLang="ja-JP"/>
          </a:p>
        </p:txBody>
      </p:sp>
    </p:spTree>
    <p:extLst>
      <p:ext uri="{BB962C8B-B14F-4D97-AF65-F5344CB8AC3E}">
        <p14:creationId xmlns:p14="http://schemas.microsoft.com/office/powerpoint/2010/main" val="25365761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ja-JP" altLang="en-US"/>
              <a:t>マスター タイトルの書式設定</a:t>
            </a:r>
          </a:p>
        </p:txBody>
      </p:sp>
      <p:sp>
        <p:nvSpPr>
          <p:cNvPr id="3" name="フッター プレースホルダー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altLang="ja-JP"/>
              <a:t>Copyright 2020 FUJITSU LIMITED</a:t>
            </a: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fld id="{72E657AC-4808-49C2-85C9-9B8A09B04136}" type="slidenum">
              <a:rPr lang="de-DE" altLang="ja-JP"/>
              <a:pPr/>
              <a:t>‹#›</a:t>
            </a:fld>
            <a:endParaRPr lang="de-DE" altLang="ja-JP"/>
          </a:p>
        </p:txBody>
      </p:sp>
    </p:spTree>
    <p:extLst>
      <p:ext uri="{BB962C8B-B14F-4D97-AF65-F5344CB8AC3E}">
        <p14:creationId xmlns:p14="http://schemas.microsoft.com/office/powerpoint/2010/main" val="1268093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フッター プレースホルダー 1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altLang="ja-JP"/>
              <a:t>Copyright 2020 FUJITSU LIMITED</a:t>
            </a:r>
          </a:p>
        </p:txBody>
      </p:sp>
      <p:sp>
        <p:nvSpPr>
          <p:cNvPr id="3" name="スライド番号プレースホルダー 2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fld id="{89208CCA-4E5E-4821-A19F-D7D094397A23}" type="slidenum">
              <a:rPr lang="de-DE" altLang="ja-JP"/>
              <a:pPr/>
              <a:t>‹#›</a:t>
            </a:fld>
            <a:endParaRPr lang="de-DE" altLang="ja-JP"/>
          </a:p>
        </p:txBody>
      </p:sp>
    </p:spTree>
    <p:extLst>
      <p:ext uri="{BB962C8B-B14F-4D97-AF65-F5344CB8AC3E}">
        <p14:creationId xmlns:p14="http://schemas.microsoft.com/office/powerpoint/2010/main" val="18640574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エンドカッ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5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4932363" y="4935602"/>
            <a:ext cx="3960812" cy="2015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fontAlgn="base">
              <a:defRPr kumimoji="0" sz="700">
                <a:solidFill>
                  <a:schemeClr val="bg1"/>
                </a:solidFill>
              </a:defRPr>
            </a:lvl1pPr>
          </a:lstStyle>
          <a:p>
            <a:r>
              <a:rPr lang="de-DE" altLang="ja-JP"/>
              <a:t>Copyright 2020 FUJITSU LIMITED</a:t>
            </a:r>
          </a:p>
        </p:txBody>
      </p:sp>
      <p:sp>
        <p:nvSpPr>
          <p:cNvPr id="37" name="Rectangle 6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4300538" y="4937189"/>
            <a:ext cx="539750" cy="201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fontAlgn="base">
              <a:defRPr kumimoji="0" sz="800">
                <a:solidFill>
                  <a:schemeClr val="bg1"/>
                </a:solidFill>
              </a:defRPr>
            </a:lvl1pPr>
          </a:lstStyle>
          <a:p>
            <a:fld id="{2145D5DA-CF11-4C66-BB26-5DC06B07024B}" type="slidenum">
              <a:rPr lang="de-DE" altLang="ja-JP" smtClean="0"/>
              <a:pPr/>
              <a:t>‹#›</a:t>
            </a:fld>
            <a:endParaRPr lang="de-DE" altLang="ja-JP"/>
          </a:p>
        </p:txBody>
      </p:sp>
      <p:grpSp>
        <p:nvGrpSpPr>
          <p:cNvPr id="39" name="Group 106" descr="Message Lockup"/>
          <p:cNvGrpSpPr>
            <a:grpSpLocks/>
          </p:cNvGrpSpPr>
          <p:nvPr userDrawn="1"/>
        </p:nvGrpSpPr>
        <p:grpSpPr bwMode="gray">
          <a:xfrm>
            <a:off x="1" y="0"/>
            <a:ext cx="9148763" cy="5145087"/>
            <a:chOff x="0" y="0"/>
            <a:chExt cx="5763" cy="3242"/>
          </a:xfrm>
        </p:grpSpPr>
        <p:sp>
          <p:nvSpPr>
            <p:cNvPr id="40" name="Rectangle 3"/>
            <p:cNvSpPr>
              <a:spLocks noChangeArrowheads="1"/>
            </p:cNvSpPr>
            <p:nvPr/>
          </p:nvSpPr>
          <p:spPr bwMode="gray">
            <a:xfrm>
              <a:off x="0" y="1"/>
              <a:ext cx="5760" cy="324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rgbClr val="50505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53882" dir="2700000" algn="ctr" rotWithShape="0">
                      <a:schemeClr val="bg2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ja-JP" altLang="en-US"/>
            </a:p>
          </p:txBody>
        </p:sp>
        <p:grpSp>
          <p:nvGrpSpPr>
            <p:cNvPr id="41" name="Group 74"/>
            <p:cNvGrpSpPr>
              <a:grpSpLocks noChangeAspect="1"/>
            </p:cNvGrpSpPr>
            <p:nvPr/>
          </p:nvGrpSpPr>
          <p:grpSpPr bwMode="gray">
            <a:xfrm>
              <a:off x="0" y="0"/>
              <a:ext cx="5763" cy="3242"/>
              <a:chOff x="0" y="0"/>
              <a:chExt cx="5763" cy="3242"/>
            </a:xfrm>
          </p:grpSpPr>
          <p:sp>
            <p:nvSpPr>
              <p:cNvPr id="42" name="AutoShape 73"/>
              <p:cNvSpPr>
                <a:spLocks noChangeAspect="1" noChangeArrowheads="1" noTextEdit="1"/>
              </p:cNvSpPr>
              <p:nvPr/>
            </p:nvSpPr>
            <p:spPr bwMode="gray">
              <a:xfrm>
                <a:off x="0" y="0"/>
                <a:ext cx="5763" cy="32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/>
              </a:p>
            </p:txBody>
          </p:sp>
          <p:sp>
            <p:nvSpPr>
              <p:cNvPr id="43" name="Freeform 75"/>
              <p:cNvSpPr>
                <a:spLocks/>
              </p:cNvSpPr>
              <p:nvPr/>
            </p:nvSpPr>
            <p:spPr bwMode="gray">
              <a:xfrm>
                <a:off x="1633" y="1949"/>
                <a:ext cx="73" cy="120"/>
              </a:xfrm>
              <a:custGeom>
                <a:avLst/>
                <a:gdLst>
                  <a:gd name="T0" fmla="*/ 0 w 363"/>
                  <a:gd name="T1" fmla="*/ 573 h 597"/>
                  <a:gd name="T2" fmla="*/ 0 w 363"/>
                  <a:gd name="T3" fmla="*/ 504 h 597"/>
                  <a:gd name="T4" fmla="*/ 139 w 363"/>
                  <a:gd name="T5" fmla="*/ 536 h 597"/>
                  <a:gd name="T6" fmla="*/ 278 w 363"/>
                  <a:gd name="T7" fmla="*/ 445 h 597"/>
                  <a:gd name="T8" fmla="*/ 255 w 363"/>
                  <a:gd name="T9" fmla="*/ 387 h 597"/>
                  <a:gd name="T10" fmla="*/ 213 w 363"/>
                  <a:gd name="T11" fmla="*/ 354 h 597"/>
                  <a:gd name="T12" fmla="*/ 159 w 363"/>
                  <a:gd name="T13" fmla="*/ 328 h 597"/>
                  <a:gd name="T14" fmla="*/ 49 w 363"/>
                  <a:gd name="T15" fmla="*/ 253 h 597"/>
                  <a:gd name="T16" fmla="*/ 10 w 363"/>
                  <a:gd name="T17" fmla="*/ 150 h 597"/>
                  <a:gd name="T18" fmla="*/ 71 w 363"/>
                  <a:gd name="T19" fmla="*/ 33 h 597"/>
                  <a:gd name="T20" fmla="*/ 201 w 363"/>
                  <a:gd name="T21" fmla="*/ 0 h 597"/>
                  <a:gd name="T22" fmla="*/ 322 w 363"/>
                  <a:gd name="T23" fmla="*/ 20 h 597"/>
                  <a:gd name="T24" fmla="*/ 322 w 363"/>
                  <a:gd name="T25" fmla="*/ 83 h 597"/>
                  <a:gd name="T26" fmla="*/ 206 w 363"/>
                  <a:gd name="T27" fmla="*/ 59 h 597"/>
                  <a:gd name="T28" fmla="*/ 127 w 363"/>
                  <a:gd name="T29" fmla="*/ 78 h 597"/>
                  <a:gd name="T30" fmla="*/ 95 w 363"/>
                  <a:gd name="T31" fmla="*/ 140 h 597"/>
                  <a:gd name="T32" fmla="*/ 117 w 363"/>
                  <a:gd name="T33" fmla="*/ 199 h 597"/>
                  <a:gd name="T34" fmla="*/ 214 w 363"/>
                  <a:gd name="T35" fmla="*/ 260 h 597"/>
                  <a:gd name="T36" fmla="*/ 293 w 363"/>
                  <a:gd name="T37" fmla="*/ 305 h 597"/>
                  <a:gd name="T38" fmla="*/ 348 w 363"/>
                  <a:gd name="T39" fmla="*/ 365 h 597"/>
                  <a:gd name="T40" fmla="*/ 363 w 363"/>
                  <a:gd name="T41" fmla="*/ 436 h 597"/>
                  <a:gd name="T42" fmla="*/ 145 w 363"/>
                  <a:gd name="T43" fmla="*/ 597 h 597"/>
                  <a:gd name="T44" fmla="*/ 0 w 363"/>
                  <a:gd name="T45" fmla="*/ 573 h 5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63" h="597">
                    <a:moveTo>
                      <a:pt x="0" y="573"/>
                    </a:moveTo>
                    <a:cubicBezTo>
                      <a:pt x="0" y="504"/>
                      <a:pt x="0" y="504"/>
                      <a:pt x="0" y="504"/>
                    </a:cubicBezTo>
                    <a:cubicBezTo>
                      <a:pt x="38" y="526"/>
                      <a:pt x="84" y="536"/>
                      <a:pt x="139" y="536"/>
                    </a:cubicBezTo>
                    <a:cubicBezTo>
                      <a:pt x="232" y="536"/>
                      <a:pt x="278" y="506"/>
                      <a:pt x="278" y="445"/>
                    </a:cubicBezTo>
                    <a:cubicBezTo>
                      <a:pt x="278" y="422"/>
                      <a:pt x="270" y="402"/>
                      <a:pt x="255" y="387"/>
                    </a:cubicBezTo>
                    <a:cubicBezTo>
                      <a:pt x="242" y="374"/>
                      <a:pt x="228" y="363"/>
                      <a:pt x="213" y="354"/>
                    </a:cubicBezTo>
                    <a:cubicBezTo>
                      <a:pt x="199" y="347"/>
                      <a:pt x="181" y="338"/>
                      <a:pt x="159" y="328"/>
                    </a:cubicBezTo>
                    <a:cubicBezTo>
                      <a:pt x="107" y="302"/>
                      <a:pt x="70" y="277"/>
                      <a:pt x="49" y="253"/>
                    </a:cubicBezTo>
                    <a:cubicBezTo>
                      <a:pt x="23" y="224"/>
                      <a:pt x="10" y="190"/>
                      <a:pt x="10" y="150"/>
                    </a:cubicBezTo>
                    <a:cubicBezTo>
                      <a:pt x="10" y="97"/>
                      <a:pt x="30" y="58"/>
                      <a:pt x="71" y="33"/>
                    </a:cubicBezTo>
                    <a:cubicBezTo>
                      <a:pt x="105" y="11"/>
                      <a:pt x="148" y="0"/>
                      <a:pt x="201" y="0"/>
                    </a:cubicBezTo>
                    <a:cubicBezTo>
                      <a:pt x="238" y="0"/>
                      <a:pt x="279" y="7"/>
                      <a:pt x="322" y="20"/>
                    </a:cubicBezTo>
                    <a:cubicBezTo>
                      <a:pt x="322" y="83"/>
                      <a:pt x="322" y="83"/>
                      <a:pt x="322" y="83"/>
                    </a:cubicBezTo>
                    <a:cubicBezTo>
                      <a:pt x="286" y="67"/>
                      <a:pt x="247" y="59"/>
                      <a:pt x="206" y="59"/>
                    </a:cubicBezTo>
                    <a:cubicBezTo>
                      <a:pt x="174" y="59"/>
                      <a:pt x="148" y="65"/>
                      <a:pt x="127" y="78"/>
                    </a:cubicBezTo>
                    <a:cubicBezTo>
                      <a:pt x="105" y="90"/>
                      <a:pt x="95" y="111"/>
                      <a:pt x="95" y="140"/>
                    </a:cubicBezTo>
                    <a:cubicBezTo>
                      <a:pt x="95" y="164"/>
                      <a:pt x="102" y="184"/>
                      <a:pt x="117" y="199"/>
                    </a:cubicBezTo>
                    <a:cubicBezTo>
                      <a:pt x="132" y="214"/>
                      <a:pt x="164" y="234"/>
                      <a:pt x="214" y="260"/>
                    </a:cubicBezTo>
                    <a:cubicBezTo>
                      <a:pt x="254" y="280"/>
                      <a:pt x="280" y="294"/>
                      <a:pt x="293" y="305"/>
                    </a:cubicBezTo>
                    <a:cubicBezTo>
                      <a:pt x="319" y="323"/>
                      <a:pt x="337" y="343"/>
                      <a:pt x="348" y="365"/>
                    </a:cubicBezTo>
                    <a:cubicBezTo>
                      <a:pt x="358" y="384"/>
                      <a:pt x="363" y="408"/>
                      <a:pt x="363" y="436"/>
                    </a:cubicBezTo>
                    <a:cubicBezTo>
                      <a:pt x="363" y="543"/>
                      <a:pt x="290" y="597"/>
                      <a:pt x="145" y="597"/>
                    </a:cubicBezTo>
                    <a:cubicBezTo>
                      <a:pt x="86" y="597"/>
                      <a:pt x="38" y="589"/>
                      <a:pt x="0" y="573"/>
                    </a:cubicBezTo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/>
              </a:p>
            </p:txBody>
          </p:sp>
          <p:sp>
            <p:nvSpPr>
              <p:cNvPr id="44" name="Freeform 76"/>
              <p:cNvSpPr>
                <a:spLocks/>
              </p:cNvSpPr>
              <p:nvPr/>
            </p:nvSpPr>
            <p:spPr bwMode="gray">
              <a:xfrm>
                <a:off x="1733" y="1895"/>
                <a:ext cx="86" cy="170"/>
              </a:xfrm>
              <a:custGeom>
                <a:avLst/>
                <a:gdLst>
                  <a:gd name="T0" fmla="*/ 0 w 429"/>
                  <a:gd name="T1" fmla="*/ 851 h 851"/>
                  <a:gd name="T2" fmla="*/ 0 w 429"/>
                  <a:gd name="T3" fmla="*/ 0 h 851"/>
                  <a:gd name="T4" fmla="*/ 96 w 429"/>
                  <a:gd name="T5" fmla="*/ 0 h 851"/>
                  <a:gd name="T6" fmla="*/ 96 w 429"/>
                  <a:gd name="T7" fmla="*/ 300 h 851"/>
                  <a:gd name="T8" fmla="*/ 239 w 429"/>
                  <a:gd name="T9" fmla="*/ 270 h 851"/>
                  <a:gd name="T10" fmla="*/ 411 w 429"/>
                  <a:gd name="T11" fmla="*/ 359 h 851"/>
                  <a:gd name="T12" fmla="*/ 429 w 429"/>
                  <a:gd name="T13" fmla="*/ 504 h 851"/>
                  <a:gd name="T14" fmla="*/ 429 w 429"/>
                  <a:gd name="T15" fmla="*/ 851 h 851"/>
                  <a:gd name="T16" fmla="*/ 332 w 429"/>
                  <a:gd name="T17" fmla="*/ 851 h 851"/>
                  <a:gd name="T18" fmla="*/ 332 w 429"/>
                  <a:gd name="T19" fmla="*/ 489 h 851"/>
                  <a:gd name="T20" fmla="*/ 315 w 429"/>
                  <a:gd name="T21" fmla="*/ 374 h 851"/>
                  <a:gd name="T22" fmla="*/ 229 w 429"/>
                  <a:gd name="T23" fmla="*/ 329 h 851"/>
                  <a:gd name="T24" fmla="*/ 96 w 429"/>
                  <a:gd name="T25" fmla="*/ 363 h 851"/>
                  <a:gd name="T26" fmla="*/ 96 w 429"/>
                  <a:gd name="T27" fmla="*/ 851 h 851"/>
                  <a:gd name="T28" fmla="*/ 0 w 429"/>
                  <a:gd name="T29" fmla="*/ 851 h 8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29" h="851">
                    <a:moveTo>
                      <a:pt x="0" y="851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96" y="0"/>
                      <a:pt x="96" y="0"/>
                      <a:pt x="96" y="0"/>
                    </a:cubicBezTo>
                    <a:cubicBezTo>
                      <a:pt x="96" y="300"/>
                      <a:pt x="96" y="300"/>
                      <a:pt x="96" y="300"/>
                    </a:cubicBezTo>
                    <a:cubicBezTo>
                      <a:pt x="147" y="280"/>
                      <a:pt x="194" y="270"/>
                      <a:pt x="239" y="270"/>
                    </a:cubicBezTo>
                    <a:cubicBezTo>
                      <a:pt x="328" y="270"/>
                      <a:pt x="386" y="300"/>
                      <a:pt x="411" y="359"/>
                    </a:cubicBezTo>
                    <a:cubicBezTo>
                      <a:pt x="423" y="386"/>
                      <a:pt x="429" y="434"/>
                      <a:pt x="429" y="504"/>
                    </a:cubicBezTo>
                    <a:cubicBezTo>
                      <a:pt x="429" y="851"/>
                      <a:pt x="429" y="851"/>
                      <a:pt x="429" y="851"/>
                    </a:cubicBezTo>
                    <a:cubicBezTo>
                      <a:pt x="332" y="851"/>
                      <a:pt x="332" y="851"/>
                      <a:pt x="332" y="851"/>
                    </a:cubicBezTo>
                    <a:cubicBezTo>
                      <a:pt x="332" y="489"/>
                      <a:pt x="332" y="489"/>
                      <a:pt x="332" y="489"/>
                    </a:cubicBezTo>
                    <a:cubicBezTo>
                      <a:pt x="332" y="435"/>
                      <a:pt x="326" y="397"/>
                      <a:pt x="315" y="374"/>
                    </a:cubicBezTo>
                    <a:cubicBezTo>
                      <a:pt x="300" y="344"/>
                      <a:pt x="271" y="329"/>
                      <a:pt x="229" y="329"/>
                    </a:cubicBezTo>
                    <a:cubicBezTo>
                      <a:pt x="192" y="329"/>
                      <a:pt x="147" y="340"/>
                      <a:pt x="96" y="363"/>
                    </a:cubicBezTo>
                    <a:cubicBezTo>
                      <a:pt x="96" y="851"/>
                      <a:pt x="96" y="851"/>
                      <a:pt x="96" y="851"/>
                    </a:cubicBezTo>
                    <a:lnTo>
                      <a:pt x="0" y="85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/>
              </a:p>
            </p:txBody>
          </p:sp>
          <p:sp>
            <p:nvSpPr>
              <p:cNvPr id="45" name="Freeform 77"/>
              <p:cNvSpPr>
                <a:spLocks noEditPoints="1"/>
              </p:cNvSpPr>
              <p:nvPr/>
            </p:nvSpPr>
            <p:spPr bwMode="gray">
              <a:xfrm>
                <a:off x="1845" y="1949"/>
                <a:ext cx="88" cy="120"/>
              </a:xfrm>
              <a:custGeom>
                <a:avLst/>
                <a:gdLst>
                  <a:gd name="T0" fmla="*/ 342 w 439"/>
                  <a:gd name="T1" fmla="*/ 224 h 597"/>
                  <a:gd name="T2" fmla="*/ 342 w 439"/>
                  <a:gd name="T3" fmla="*/ 194 h 597"/>
                  <a:gd name="T4" fmla="*/ 324 w 439"/>
                  <a:gd name="T5" fmla="*/ 108 h 597"/>
                  <a:gd name="T6" fmla="*/ 212 w 439"/>
                  <a:gd name="T7" fmla="*/ 61 h 597"/>
                  <a:gd name="T8" fmla="*/ 55 w 439"/>
                  <a:gd name="T9" fmla="*/ 93 h 597"/>
                  <a:gd name="T10" fmla="*/ 55 w 439"/>
                  <a:gd name="T11" fmla="*/ 25 h 597"/>
                  <a:gd name="T12" fmla="*/ 222 w 439"/>
                  <a:gd name="T13" fmla="*/ 0 h 597"/>
                  <a:gd name="T14" fmla="*/ 404 w 439"/>
                  <a:gd name="T15" fmla="*/ 60 h 597"/>
                  <a:gd name="T16" fmla="*/ 437 w 439"/>
                  <a:gd name="T17" fmla="*/ 157 h 597"/>
                  <a:gd name="T18" fmla="*/ 439 w 439"/>
                  <a:gd name="T19" fmla="*/ 227 h 597"/>
                  <a:gd name="T20" fmla="*/ 439 w 439"/>
                  <a:gd name="T21" fmla="*/ 570 h 597"/>
                  <a:gd name="T22" fmla="*/ 229 w 439"/>
                  <a:gd name="T23" fmla="*/ 597 h 597"/>
                  <a:gd name="T24" fmla="*/ 64 w 439"/>
                  <a:gd name="T25" fmla="*/ 564 h 597"/>
                  <a:gd name="T26" fmla="*/ 0 w 439"/>
                  <a:gd name="T27" fmla="*/ 438 h 597"/>
                  <a:gd name="T28" fmla="*/ 75 w 439"/>
                  <a:gd name="T29" fmla="*/ 285 h 597"/>
                  <a:gd name="T30" fmla="*/ 263 w 439"/>
                  <a:gd name="T31" fmla="*/ 233 h 597"/>
                  <a:gd name="T32" fmla="*/ 342 w 439"/>
                  <a:gd name="T33" fmla="*/ 224 h 597"/>
                  <a:gd name="T34" fmla="*/ 342 w 439"/>
                  <a:gd name="T35" fmla="*/ 279 h 597"/>
                  <a:gd name="T36" fmla="*/ 208 w 439"/>
                  <a:gd name="T37" fmla="*/ 300 h 597"/>
                  <a:gd name="T38" fmla="*/ 99 w 439"/>
                  <a:gd name="T39" fmla="*/ 428 h 597"/>
                  <a:gd name="T40" fmla="*/ 131 w 439"/>
                  <a:gd name="T41" fmla="*/ 509 h 597"/>
                  <a:gd name="T42" fmla="*/ 244 w 439"/>
                  <a:gd name="T43" fmla="*/ 539 h 597"/>
                  <a:gd name="T44" fmla="*/ 342 w 439"/>
                  <a:gd name="T45" fmla="*/ 525 h 597"/>
                  <a:gd name="T46" fmla="*/ 342 w 439"/>
                  <a:gd name="T47" fmla="*/ 279 h 5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39" h="597">
                    <a:moveTo>
                      <a:pt x="342" y="224"/>
                    </a:moveTo>
                    <a:cubicBezTo>
                      <a:pt x="342" y="194"/>
                      <a:pt x="342" y="194"/>
                      <a:pt x="342" y="194"/>
                    </a:cubicBezTo>
                    <a:cubicBezTo>
                      <a:pt x="342" y="157"/>
                      <a:pt x="336" y="129"/>
                      <a:pt x="324" y="108"/>
                    </a:cubicBezTo>
                    <a:cubicBezTo>
                      <a:pt x="306" y="77"/>
                      <a:pt x="269" y="61"/>
                      <a:pt x="212" y="61"/>
                    </a:cubicBezTo>
                    <a:cubicBezTo>
                      <a:pt x="160" y="61"/>
                      <a:pt x="108" y="71"/>
                      <a:pt x="55" y="93"/>
                    </a:cubicBezTo>
                    <a:cubicBezTo>
                      <a:pt x="55" y="25"/>
                      <a:pt x="55" y="25"/>
                      <a:pt x="55" y="25"/>
                    </a:cubicBezTo>
                    <a:cubicBezTo>
                      <a:pt x="108" y="9"/>
                      <a:pt x="164" y="0"/>
                      <a:pt x="222" y="0"/>
                    </a:cubicBezTo>
                    <a:cubicBezTo>
                      <a:pt x="310" y="0"/>
                      <a:pt x="371" y="20"/>
                      <a:pt x="404" y="60"/>
                    </a:cubicBezTo>
                    <a:cubicBezTo>
                      <a:pt x="422" y="82"/>
                      <a:pt x="432" y="114"/>
                      <a:pt x="437" y="157"/>
                    </a:cubicBezTo>
                    <a:cubicBezTo>
                      <a:pt x="438" y="173"/>
                      <a:pt x="439" y="196"/>
                      <a:pt x="439" y="227"/>
                    </a:cubicBezTo>
                    <a:cubicBezTo>
                      <a:pt x="439" y="570"/>
                      <a:pt x="439" y="570"/>
                      <a:pt x="439" y="570"/>
                    </a:cubicBezTo>
                    <a:cubicBezTo>
                      <a:pt x="373" y="588"/>
                      <a:pt x="303" y="597"/>
                      <a:pt x="229" y="597"/>
                    </a:cubicBezTo>
                    <a:cubicBezTo>
                      <a:pt x="158" y="597"/>
                      <a:pt x="103" y="586"/>
                      <a:pt x="64" y="564"/>
                    </a:cubicBezTo>
                    <a:cubicBezTo>
                      <a:pt x="22" y="540"/>
                      <a:pt x="0" y="498"/>
                      <a:pt x="0" y="438"/>
                    </a:cubicBezTo>
                    <a:cubicBezTo>
                      <a:pt x="0" y="369"/>
                      <a:pt x="25" y="318"/>
                      <a:pt x="75" y="285"/>
                    </a:cubicBezTo>
                    <a:cubicBezTo>
                      <a:pt x="112" y="261"/>
                      <a:pt x="175" y="243"/>
                      <a:pt x="263" y="233"/>
                    </a:cubicBezTo>
                    <a:cubicBezTo>
                      <a:pt x="279" y="231"/>
                      <a:pt x="306" y="228"/>
                      <a:pt x="342" y="224"/>
                    </a:cubicBezTo>
                    <a:moveTo>
                      <a:pt x="342" y="279"/>
                    </a:moveTo>
                    <a:cubicBezTo>
                      <a:pt x="283" y="285"/>
                      <a:pt x="239" y="292"/>
                      <a:pt x="208" y="300"/>
                    </a:cubicBezTo>
                    <a:cubicBezTo>
                      <a:pt x="135" y="318"/>
                      <a:pt x="99" y="361"/>
                      <a:pt x="99" y="428"/>
                    </a:cubicBezTo>
                    <a:cubicBezTo>
                      <a:pt x="99" y="465"/>
                      <a:pt x="109" y="492"/>
                      <a:pt x="131" y="509"/>
                    </a:cubicBezTo>
                    <a:cubicBezTo>
                      <a:pt x="155" y="529"/>
                      <a:pt x="192" y="539"/>
                      <a:pt x="244" y="539"/>
                    </a:cubicBezTo>
                    <a:cubicBezTo>
                      <a:pt x="279" y="539"/>
                      <a:pt x="312" y="534"/>
                      <a:pt x="342" y="525"/>
                    </a:cubicBezTo>
                    <a:lnTo>
                      <a:pt x="342" y="27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/>
              </a:p>
            </p:txBody>
          </p:sp>
          <p:sp>
            <p:nvSpPr>
              <p:cNvPr id="46" name="Freeform 78"/>
              <p:cNvSpPr>
                <a:spLocks noEditPoints="1"/>
              </p:cNvSpPr>
              <p:nvPr/>
            </p:nvSpPr>
            <p:spPr bwMode="gray">
              <a:xfrm>
                <a:off x="1968" y="1949"/>
                <a:ext cx="88" cy="171"/>
              </a:xfrm>
              <a:custGeom>
                <a:avLst/>
                <a:gdLst>
                  <a:gd name="T0" fmla="*/ 96 w 444"/>
                  <a:gd name="T1" fmla="*/ 557 h 852"/>
                  <a:gd name="T2" fmla="*/ 96 w 444"/>
                  <a:gd name="T3" fmla="*/ 852 h 852"/>
                  <a:gd name="T4" fmla="*/ 0 w 444"/>
                  <a:gd name="T5" fmla="*/ 852 h 852"/>
                  <a:gd name="T6" fmla="*/ 0 w 444"/>
                  <a:gd name="T7" fmla="*/ 23 h 852"/>
                  <a:gd name="T8" fmla="*/ 195 w 444"/>
                  <a:gd name="T9" fmla="*/ 0 h 852"/>
                  <a:gd name="T10" fmla="*/ 396 w 444"/>
                  <a:gd name="T11" fmla="*/ 89 h 852"/>
                  <a:gd name="T12" fmla="*/ 444 w 444"/>
                  <a:gd name="T13" fmla="*/ 298 h 852"/>
                  <a:gd name="T14" fmla="*/ 383 w 444"/>
                  <a:gd name="T15" fmla="*/ 519 h 852"/>
                  <a:gd name="T16" fmla="*/ 214 w 444"/>
                  <a:gd name="T17" fmla="*/ 597 h 852"/>
                  <a:gd name="T18" fmla="*/ 134 w 444"/>
                  <a:gd name="T19" fmla="*/ 582 h 852"/>
                  <a:gd name="T20" fmla="*/ 96 w 444"/>
                  <a:gd name="T21" fmla="*/ 557 h 852"/>
                  <a:gd name="T22" fmla="*/ 96 w 444"/>
                  <a:gd name="T23" fmla="*/ 490 h 852"/>
                  <a:gd name="T24" fmla="*/ 204 w 444"/>
                  <a:gd name="T25" fmla="*/ 539 h 852"/>
                  <a:gd name="T26" fmla="*/ 313 w 444"/>
                  <a:gd name="T27" fmla="*/ 464 h 852"/>
                  <a:gd name="T28" fmla="*/ 345 w 444"/>
                  <a:gd name="T29" fmla="*/ 296 h 852"/>
                  <a:gd name="T30" fmla="*/ 302 w 444"/>
                  <a:gd name="T31" fmla="*/ 110 h 852"/>
                  <a:gd name="T32" fmla="*/ 180 w 444"/>
                  <a:gd name="T33" fmla="*/ 59 h 852"/>
                  <a:gd name="T34" fmla="*/ 96 w 444"/>
                  <a:gd name="T35" fmla="*/ 66 h 852"/>
                  <a:gd name="T36" fmla="*/ 96 w 444"/>
                  <a:gd name="T37" fmla="*/ 490 h 8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44" h="852">
                    <a:moveTo>
                      <a:pt x="96" y="557"/>
                    </a:moveTo>
                    <a:cubicBezTo>
                      <a:pt x="96" y="852"/>
                      <a:pt x="96" y="852"/>
                      <a:pt x="96" y="852"/>
                    </a:cubicBezTo>
                    <a:cubicBezTo>
                      <a:pt x="0" y="852"/>
                      <a:pt x="0" y="852"/>
                      <a:pt x="0" y="852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66" y="8"/>
                      <a:pt x="131" y="0"/>
                      <a:pt x="195" y="0"/>
                    </a:cubicBezTo>
                    <a:cubicBezTo>
                      <a:pt x="293" y="0"/>
                      <a:pt x="360" y="30"/>
                      <a:pt x="396" y="89"/>
                    </a:cubicBezTo>
                    <a:cubicBezTo>
                      <a:pt x="428" y="142"/>
                      <a:pt x="444" y="211"/>
                      <a:pt x="444" y="298"/>
                    </a:cubicBezTo>
                    <a:cubicBezTo>
                      <a:pt x="444" y="389"/>
                      <a:pt x="423" y="462"/>
                      <a:pt x="383" y="519"/>
                    </a:cubicBezTo>
                    <a:cubicBezTo>
                      <a:pt x="345" y="571"/>
                      <a:pt x="288" y="597"/>
                      <a:pt x="214" y="597"/>
                    </a:cubicBezTo>
                    <a:cubicBezTo>
                      <a:pt x="183" y="597"/>
                      <a:pt x="156" y="592"/>
                      <a:pt x="134" y="582"/>
                    </a:cubicBezTo>
                    <a:cubicBezTo>
                      <a:pt x="124" y="577"/>
                      <a:pt x="111" y="569"/>
                      <a:pt x="96" y="557"/>
                    </a:cubicBezTo>
                    <a:moveTo>
                      <a:pt x="96" y="490"/>
                    </a:moveTo>
                    <a:cubicBezTo>
                      <a:pt x="129" y="522"/>
                      <a:pt x="165" y="539"/>
                      <a:pt x="204" y="539"/>
                    </a:cubicBezTo>
                    <a:cubicBezTo>
                      <a:pt x="253" y="539"/>
                      <a:pt x="290" y="514"/>
                      <a:pt x="313" y="464"/>
                    </a:cubicBezTo>
                    <a:cubicBezTo>
                      <a:pt x="335" y="418"/>
                      <a:pt x="345" y="363"/>
                      <a:pt x="345" y="296"/>
                    </a:cubicBezTo>
                    <a:cubicBezTo>
                      <a:pt x="345" y="214"/>
                      <a:pt x="331" y="152"/>
                      <a:pt x="302" y="110"/>
                    </a:cubicBezTo>
                    <a:cubicBezTo>
                      <a:pt x="278" y="76"/>
                      <a:pt x="238" y="59"/>
                      <a:pt x="180" y="59"/>
                    </a:cubicBezTo>
                    <a:cubicBezTo>
                      <a:pt x="155" y="59"/>
                      <a:pt x="127" y="61"/>
                      <a:pt x="96" y="66"/>
                    </a:cubicBezTo>
                    <a:lnTo>
                      <a:pt x="96" y="49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/>
              </a:p>
            </p:txBody>
          </p:sp>
          <p:sp>
            <p:nvSpPr>
              <p:cNvPr id="47" name="Freeform 79"/>
              <p:cNvSpPr>
                <a:spLocks noEditPoints="1"/>
              </p:cNvSpPr>
              <p:nvPr/>
            </p:nvSpPr>
            <p:spPr bwMode="gray">
              <a:xfrm>
                <a:off x="2083" y="1911"/>
                <a:ext cx="24" cy="154"/>
              </a:xfrm>
              <a:custGeom>
                <a:avLst/>
                <a:gdLst>
                  <a:gd name="T0" fmla="*/ 59 w 118"/>
                  <a:gd name="T1" fmla="*/ 0 h 772"/>
                  <a:gd name="T2" fmla="*/ 103 w 118"/>
                  <a:gd name="T3" fmla="*/ 19 h 772"/>
                  <a:gd name="T4" fmla="*/ 118 w 118"/>
                  <a:gd name="T5" fmla="*/ 59 h 772"/>
                  <a:gd name="T6" fmla="*/ 98 w 118"/>
                  <a:gd name="T7" fmla="*/ 103 h 772"/>
                  <a:gd name="T8" fmla="*/ 58 w 118"/>
                  <a:gd name="T9" fmla="*/ 118 h 772"/>
                  <a:gd name="T10" fmla="*/ 15 w 118"/>
                  <a:gd name="T11" fmla="*/ 99 h 772"/>
                  <a:gd name="T12" fmla="*/ 0 w 118"/>
                  <a:gd name="T13" fmla="*/ 58 h 772"/>
                  <a:gd name="T14" fmla="*/ 19 w 118"/>
                  <a:gd name="T15" fmla="*/ 15 h 772"/>
                  <a:gd name="T16" fmla="*/ 59 w 118"/>
                  <a:gd name="T17" fmla="*/ 0 h 772"/>
                  <a:gd name="T18" fmla="*/ 12 w 118"/>
                  <a:gd name="T19" fmla="*/ 207 h 772"/>
                  <a:gd name="T20" fmla="*/ 108 w 118"/>
                  <a:gd name="T21" fmla="*/ 207 h 772"/>
                  <a:gd name="T22" fmla="*/ 108 w 118"/>
                  <a:gd name="T23" fmla="*/ 772 h 772"/>
                  <a:gd name="T24" fmla="*/ 12 w 118"/>
                  <a:gd name="T25" fmla="*/ 772 h 772"/>
                  <a:gd name="T26" fmla="*/ 12 w 118"/>
                  <a:gd name="T27" fmla="*/ 207 h 7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8" h="772">
                    <a:moveTo>
                      <a:pt x="59" y="0"/>
                    </a:moveTo>
                    <a:cubicBezTo>
                      <a:pt x="76" y="0"/>
                      <a:pt x="91" y="6"/>
                      <a:pt x="103" y="19"/>
                    </a:cubicBezTo>
                    <a:cubicBezTo>
                      <a:pt x="113" y="31"/>
                      <a:pt x="118" y="44"/>
                      <a:pt x="118" y="59"/>
                    </a:cubicBezTo>
                    <a:cubicBezTo>
                      <a:pt x="118" y="77"/>
                      <a:pt x="111" y="91"/>
                      <a:pt x="98" y="103"/>
                    </a:cubicBezTo>
                    <a:cubicBezTo>
                      <a:pt x="87" y="113"/>
                      <a:pt x="74" y="118"/>
                      <a:pt x="58" y="118"/>
                    </a:cubicBezTo>
                    <a:cubicBezTo>
                      <a:pt x="41" y="118"/>
                      <a:pt x="26" y="112"/>
                      <a:pt x="15" y="99"/>
                    </a:cubicBezTo>
                    <a:cubicBezTo>
                      <a:pt x="5" y="88"/>
                      <a:pt x="0" y="74"/>
                      <a:pt x="0" y="58"/>
                    </a:cubicBezTo>
                    <a:cubicBezTo>
                      <a:pt x="0" y="41"/>
                      <a:pt x="6" y="27"/>
                      <a:pt x="19" y="15"/>
                    </a:cubicBezTo>
                    <a:cubicBezTo>
                      <a:pt x="30" y="5"/>
                      <a:pt x="43" y="0"/>
                      <a:pt x="59" y="0"/>
                    </a:cubicBezTo>
                    <a:moveTo>
                      <a:pt x="12" y="207"/>
                    </a:moveTo>
                    <a:cubicBezTo>
                      <a:pt x="108" y="207"/>
                      <a:pt x="108" y="207"/>
                      <a:pt x="108" y="207"/>
                    </a:cubicBezTo>
                    <a:cubicBezTo>
                      <a:pt x="108" y="772"/>
                      <a:pt x="108" y="772"/>
                      <a:pt x="108" y="772"/>
                    </a:cubicBezTo>
                    <a:cubicBezTo>
                      <a:pt x="12" y="772"/>
                      <a:pt x="12" y="772"/>
                      <a:pt x="12" y="772"/>
                    </a:cubicBezTo>
                    <a:lnTo>
                      <a:pt x="12" y="20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/>
              </a:p>
            </p:txBody>
          </p:sp>
          <p:sp>
            <p:nvSpPr>
              <p:cNvPr id="48" name="Freeform 80"/>
              <p:cNvSpPr>
                <a:spLocks/>
              </p:cNvSpPr>
              <p:nvPr/>
            </p:nvSpPr>
            <p:spPr bwMode="gray">
              <a:xfrm>
                <a:off x="2141" y="1949"/>
                <a:ext cx="86" cy="116"/>
              </a:xfrm>
              <a:custGeom>
                <a:avLst/>
                <a:gdLst>
                  <a:gd name="T0" fmla="*/ 0 w 430"/>
                  <a:gd name="T1" fmla="*/ 581 h 581"/>
                  <a:gd name="T2" fmla="*/ 0 w 430"/>
                  <a:gd name="T3" fmla="*/ 23 h 581"/>
                  <a:gd name="T4" fmla="*/ 227 w 430"/>
                  <a:gd name="T5" fmla="*/ 0 h 581"/>
                  <a:gd name="T6" fmla="*/ 412 w 430"/>
                  <a:gd name="T7" fmla="*/ 89 h 581"/>
                  <a:gd name="T8" fmla="*/ 430 w 430"/>
                  <a:gd name="T9" fmla="*/ 234 h 581"/>
                  <a:gd name="T10" fmla="*/ 430 w 430"/>
                  <a:gd name="T11" fmla="*/ 581 h 581"/>
                  <a:gd name="T12" fmla="*/ 333 w 430"/>
                  <a:gd name="T13" fmla="*/ 581 h 581"/>
                  <a:gd name="T14" fmla="*/ 333 w 430"/>
                  <a:gd name="T15" fmla="*/ 240 h 581"/>
                  <a:gd name="T16" fmla="*/ 316 w 430"/>
                  <a:gd name="T17" fmla="*/ 105 h 581"/>
                  <a:gd name="T18" fmla="*/ 217 w 430"/>
                  <a:gd name="T19" fmla="*/ 59 h 581"/>
                  <a:gd name="T20" fmla="*/ 97 w 430"/>
                  <a:gd name="T21" fmla="*/ 71 h 581"/>
                  <a:gd name="T22" fmla="*/ 97 w 430"/>
                  <a:gd name="T23" fmla="*/ 581 h 581"/>
                  <a:gd name="T24" fmla="*/ 0 w 430"/>
                  <a:gd name="T25" fmla="*/ 581 h 5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30" h="581">
                    <a:moveTo>
                      <a:pt x="0" y="581"/>
                    </a:moveTo>
                    <a:cubicBezTo>
                      <a:pt x="0" y="23"/>
                      <a:pt x="0" y="23"/>
                      <a:pt x="0" y="23"/>
                    </a:cubicBezTo>
                    <a:cubicBezTo>
                      <a:pt x="90" y="8"/>
                      <a:pt x="165" y="0"/>
                      <a:pt x="227" y="0"/>
                    </a:cubicBezTo>
                    <a:cubicBezTo>
                      <a:pt x="325" y="0"/>
                      <a:pt x="387" y="30"/>
                      <a:pt x="412" y="89"/>
                    </a:cubicBezTo>
                    <a:cubicBezTo>
                      <a:pt x="424" y="117"/>
                      <a:pt x="430" y="165"/>
                      <a:pt x="430" y="234"/>
                    </a:cubicBezTo>
                    <a:cubicBezTo>
                      <a:pt x="430" y="581"/>
                      <a:pt x="430" y="581"/>
                      <a:pt x="430" y="581"/>
                    </a:cubicBezTo>
                    <a:cubicBezTo>
                      <a:pt x="333" y="581"/>
                      <a:pt x="333" y="581"/>
                      <a:pt x="333" y="581"/>
                    </a:cubicBezTo>
                    <a:cubicBezTo>
                      <a:pt x="333" y="240"/>
                      <a:pt x="333" y="240"/>
                      <a:pt x="333" y="240"/>
                    </a:cubicBezTo>
                    <a:cubicBezTo>
                      <a:pt x="333" y="173"/>
                      <a:pt x="327" y="128"/>
                      <a:pt x="316" y="105"/>
                    </a:cubicBezTo>
                    <a:cubicBezTo>
                      <a:pt x="300" y="74"/>
                      <a:pt x="267" y="59"/>
                      <a:pt x="217" y="59"/>
                    </a:cubicBezTo>
                    <a:cubicBezTo>
                      <a:pt x="178" y="59"/>
                      <a:pt x="138" y="63"/>
                      <a:pt x="97" y="71"/>
                    </a:cubicBezTo>
                    <a:cubicBezTo>
                      <a:pt x="97" y="581"/>
                      <a:pt x="97" y="581"/>
                      <a:pt x="97" y="581"/>
                    </a:cubicBezTo>
                    <a:lnTo>
                      <a:pt x="0" y="58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/>
              </a:p>
            </p:txBody>
          </p:sp>
          <p:sp>
            <p:nvSpPr>
              <p:cNvPr id="49" name="Freeform 81"/>
              <p:cNvSpPr>
                <a:spLocks noEditPoints="1"/>
              </p:cNvSpPr>
              <p:nvPr/>
            </p:nvSpPr>
            <p:spPr bwMode="gray">
              <a:xfrm>
                <a:off x="2254" y="1949"/>
                <a:ext cx="89" cy="172"/>
              </a:xfrm>
              <a:custGeom>
                <a:avLst/>
                <a:gdLst>
                  <a:gd name="T0" fmla="*/ 349 w 446"/>
                  <a:gd name="T1" fmla="*/ 531 h 861"/>
                  <a:gd name="T2" fmla="*/ 313 w 446"/>
                  <a:gd name="T3" fmla="*/ 565 h 861"/>
                  <a:gd name="T4" fmla="*/ 201 w 446"/>
                  <a:gd name="T5" fmla="*/ 597 h 861"/>
                  <a:gd name="T6" fmla="*/ 76 w 446"/>
                  <a:gd name="T7" fmla="*/ 555 h 861"/>
                  <a:gd name="T8" fmla="*/ 0 w 446"/>
                  <a:gd name="T9" fmla="*/ 325 h 861"/>
                  <a:gd name="T10" fmla="*/ 55 w 446"/>
                  <a:gd name="T11" fmla="*/ 103 h 861"/>
                  <a:gd name="T12" fmla="*/ 267 w 446"/>
                  <a:gd name="T13" fmla="*/ 0 h 861"/>
                  <a:gd name="T14" fmla="*/ 446 w 446"/>
                  <a:gd name="T15" fmla="*/ 23 h 861"/>
                  <a:gd name="T16" fmla="*/ 446 w 446"/>
                  <a:gd name="T17" fmla="*/ 471 h 861"/>
                  <a:gd name="T18" fmla="*/ 435 w 446"/>
                  <a:gd name="T19" fmla="*/ 661 h 861"/>
                  <a:gd name="T20" fmla="*/ 330 w 446"/>
                  <a:gd name="T21" fmla="*/ 824 h 861"/>
                  <a:gd name="T22" fmla="*/ 149 w 446"/>
                  <a:gd name="T23" fmla="*/ 861 h 861"/>
                  <a:gd name="T24" fmla="*/ 77 w 446"/>
                  <a:gd name="T25" fmla="*/ 856 h 861"/>
                  <a:gd name="T26" fmla="*/ 77 w 446"/>
                  <a:gd name="T27" fmla="*/ 798 h 861"/>
                  <a:gd name="T28" fmla="*/ 149 w 446"/>
                  <a:gd name="T29" fmla="*/ 802 h 861"/>
                  <a:gd name="T30" fmla="*/ 267 w 446"/>
                  <a:gd name="T31" fmla="*/ 781 h 861"/>
                  <a:gd name="T32" fmla="*/ 340 w 446"/>
                  <a:gd name="T33" fmla="*/ 673 h 861"/>
                  <a:gd name="T34" fmla="*/ 349 w 446"/>
                  <a:gd name="T35" fmla="*/ 562 h 861"/>
                  <a:gd name="T36" fmla="*/ 349 w 446"/>
                  <a:gd name="T37" fmla="*/ 531 h 861"/>
                  <a:gd name="T38" fmla="*/ 349 w 446"/>
                  <a:gd name="T39" fmla="*/ 64 h 861"/>
                  <a:gd name="T40" fmla="*/ 276 w 446"/>
                  <a:gd name="T41" fmla="*/ 59 h 861"/>
                  <a:gd name="T42" fmla="*/ 181 w 446"/>
                  <a:gd name="T43" fmla="*/ 83 h 861"/>
                  <a:gd name="T44" fmla="*/ 119 w 446"/>
                  <a:gd name="T45" fmla="*/ 183 h 861"/>
                  <a:gd name="T46" fmla="*/ 99 w 446"/>
                  <a:gd name="T47" fmla="*/ 329 h 861"/>
                  <a:gd name="T48" fmla="*/ 136 w 446"/>
                  <a:gd name="T49" fmla="*/ 497 h 861"/>
                  <a:gd name="T50" fmla="*/ 214 w 446"/>
                  <a:gd name="T51" fmla="*/ 539 h 861"/>
                  <a:gd name="T52" fmla="*/ 291 w 446"/>
                  <a:gd name="T53" fmla="*/ 513 h 861"/>
                  <a:gd name="T54" fmla="*/ 341 w 446"/>
                  <a:gd name="T55" fmla="*/ 444 h 861"/>
                  <a:gd name="T56" fmla="*/ 349 w 446"/>
                  <a:gd name="T57" fmla="*/ 379 h 861"/>
                  <a:gd name="T58" fmla="*/ 349 w 446"/>
                  <a:gd name="T59" fmla="*/ 64 h 8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446" h="861">
                    <a:moveTo>
                      <a:pt x="349" y="531"/>
                    </a:moveTo>
                    <a:cubicBezTo>
                      <a:pt x="334" y="547"/>
                      <a:pt x="322" y="558"/>
                      <a:pt x="313" y="565"/>
                    </a:cubicBezTo>
                    <a:cubicBezTo>
                      <a:pt x="283" y="586"/>
                      <a:pt x="246" y="597"/>
                      <a:pt x="201" y="597"/>
                    </a:cubicBezTo>
                    <a:cubicBezTo>
                      <a:pt x="150" y="597"/>
                      <a:pt x="109" y="583"/>
                      <a:pt x="76" y="555"/>
                    </a:cubicBezTo>
                    <a:cubicBezTo>
                      <a:pt x="25" y="513"/>
                      <a:pt x="0" y="436"/>
                      <a:pt x="0" y="325"/>
                    </a:cubicBezTo>
                    <a:cubicBezTo>
                      <a:pt x="0" y="235"/>
                      <a:pt x="18" y="162"/>
                      <a:pt x="55" y="103"/>
                    </a:cubicBezTo>
                    <a:cubicBezTo>
                      <a:pt x="99" y="35"/>
                      <a:pt x="169" y="0"/>
                      <a:pt x="267" y="0"/>
                    </a:cubicBezTo>
                    <a:cubicBezTo>
                      <a:pt x="324" y="0"/>
                      <a:pt x="384" y="8"/>
                      <a:pt x="446" y="23"/>
                    </a:cubicBezTo>
                    <a:cubicBezTo>
                      <a:pt x="446" y="471"/>
                      <a:pt x="446" y="471"/>
                      <a:pt x="446" y="471"/>
                    </a:cubicBezTo>
                    <a:cubicBezTo>
                      <a:pt x="446" y="554"/>
                      <a:pt x="442" y="617"/>
                      <a:pt x="435" y="661"/>
                    </a:cubicBezTo>
                    <a:cubicBezTo>
                      <a:pt x="422" y="740"/>
                      <a:pt x="387" y="794"/>
                      <a:pt x="330" y="824"/>
                    </a:cubicBezTo>
                    <a:cubicBezTo>
                      <a:pt x="284" y="849"/>
                      <a:pt x="224" y="861"/>
                      <a:pt x="149" y="861"/>
                    </a:cubicBezTo>
                    <a:cubicBezTo>
                      <a:pt x="129" y="861"/>
                      <a:pt x="104" y="859"/>
                      <a:pt x="77" y="856"/>
                    </a:cubicBezTo>
                    <a:cubicBezTo>
                      <a:pt x="77" y="798"/>
                      <a:pt x="77" y="798"/>
                      <a:pt x="77" y="798"/>
                    </a:cubicBezTo>
                    <a:cubicBezTo>
                      <a:pt x="102" y="801"/>
                      <a:pt x="126" y="802"/>
                      <a:pt x="149" y="802"/>
                    </a:cubicBezTo>
                    <a:cubicBezTo>
                      <a:pt x="202" y="802"/>
                      <a:pt x="241" y="796"/>
                      <a:pt x="267" y="781"/>
                    </a:cubicBezTo>
                    <a:cubicBezTo>
                      <a:pt x="305" y="761"/>
                      <a:pt x="330" y="725"/>
                      <a:pt x="340" y="673"/>
                    </a:cubicBezTo>
                    <a:cubicBezTo>
                      <a:pt x="346" y="643"/>
                      <a:pt x="349" y="606"/>
                      <a:pt x="349" y="562"/>
                    </a:cubicBezTo>
                    <a:lnTo>
                      <a:pt x="349" y="531"/>
                    </a:lnTo>
                    <a:close/>
                    <a:moveTo>
                      <a:pt x="349" y="64"/>
                    </a:moveTo>
                    <a:cubicBezTo>
                      <a:pt x="322" y="61"/>
                      <a:pt x="298" y="59"/>
                      <a:pt x="276" y="59"/>
                    </a:cubicBezTo>
                    <a:cubicBezTo>
                      <a:pt x="236" y="59"/>
                      <a:pt x="204" y="67"/>
                      <a:pt x="181" y="83"/>
                    </a:cubicBezTo>
                    <a:cubicBezTo>
                      <a:pt x="155" y="102"/>
                      <a:pt x="134" y="136"/>
                      <a:pt x="119" y="183"/>
                    </a:cubicBezTo>
                    <a:cubicBezTo>
                      <a:pt x="106" y="225"/>
                      <a:pt x="99" y="274"/>
                      <a:pt x="99" y="329"/>
                    </a:cubicBezTo>
                    <a:cubicBezTo>
                      <a:pt x="99" y="406"/>
                      <a:pt x="111" y="462"/>
                      <a:pt x="136" y="497"/>
                    </a:cubicBezTo>
                    <a:cubicBezTo>
                      <a:pt x="156" y="525"/>
                      <a:pt x="182" y="539"/>
                      <a:pt x="214" y="539"/>
                    </a:cubicBezTo>
                    <a:cubicBezTo>
                      <a:pt x="242" y="539"/>
                      <a:pt x="267" y="530"/>
                      <a:pt x="291" y="513"/>
                    </a:cubicBezTo>
                    <a:cubicBezTo>
                      <a:pt x="314" y="495"/>
                      <a:pt x="331" y="472"/>
                      <a:pt x="341" y="444"/>
                    </a:cubicBezTo>
                    <a:cubicBezTo>
                      <a:pt x="346" y="429"/>
                      <a:pt x="349" y="408"/>
                      <a:pt x="349" y="379"/>
                    </a:cubicBezTo>
                    <a:lnTo>
                      <a:pt x="349" y="6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/>
              </a:p>
            </p:txBody>
          </p:sp>
          <p:sp>
            <p:nvSpPr>
              <p:cNvPr id="50" name="Freeform 82"/>
              <p:cNvSpPr>
                <a:spLocks/>
              </p:cNvSpPr>
              <p:nvPr/>
            </p:nvSpPr>
            <p:spPr bwMode="gray">
              <a:xfrm>
                <a:off x="2431" y="1922"/>
                <a:ext cx="50" cy="143"/>
              </a:xfrm>
              <a:custGeom>
                <a:avLst/>
                <a:gdLst>
                  <a:gd name="T0" fmla="*/ 0 w 249"/>
                  <a:gd name="T1" fmla="*/ 0 h 718"/>
                  <a:gd name="T2" fmla="*/ 97 w 249"/>
                  <a:gd name="T3" fmla="*/ 0 h 718"/>
                  <a:gd name="T4" fmla="*/ 97 w 249"/>
                  <a:gd name="T5" fmla="*/ 153 h 718"/>
                  <a:gd name="T6" fmla="*/ 249 w 249"/>
                  <a:gd name="T7" fmla="*/ 153 h 718"/>
                  <a:gd name="T8" fmla="*/ 249 w 249"/>
                  <a:gd name="T9" fmla="*/ 215 h 718"/>
                  <a:gd name="T10" fmla="*/ 97 w 249"/>
                  <a:gd name="T11" fmla="*/ 215 h 718"/>
                  <a:gd name="T12" fmla="*/ 97 w 249"/>
                  <a:gd name="T13" fmla="*/ 515 h 718"/>
                  <a:gd name="T14" fmla="*/ 122 w 249"/>
                  <a:gd name="T15" fmla="*/ 630 h 718"/>
                  <a:gd name="T16" fmla="*/ 176 w 249"/>
                  <a:gd name="T17" fmla="*/ 655 h 718"/>
                  <a:gd name="T18" fmla="*/ 217 w 249"/>
                  <a:gd name="T19" fmla="*/ 657 h 718"/>
                  <a:gd name="T20" fmla="*/ 249 w 249"/>
                  <a:gd name="T21" fmla="*/ 657 h 718"/>
                  <a:gd name="T22" fmla="*/ 249 w 249"/>
                  <a:gd name="T23" fmla="*/ 718 h 718"/>
                  <a:gd name="T24" fmla="*/ 197 w 249"/>
                  <a:gd name="T25" fmla="*/ 718 h 718"/>
                  <a:gd name="T26" fmla="*/ 99 w 249"/>
                  <a:gd name="T27" fmla="*/ 709 h 718"/>
                  <a:gd name="T28" fmla="*/ 9 w 249"/>
                  <a:gd name="T29" fmla="*/ 613 h 718"/>
                  <a:gd name="T30" fmla="*/ 0 w 249"/>
                  <a:gd name="T31" fmla="*/ 501 h 718"/>
                  <a:gd name="T32" fmla="*/ 0 w 249"/>
                  <a:gd name="T33" fmla="*/ 0 h 7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9" h="718">
                    <a:moveTo>
                      <a:pt x="0" y="0"/>
                    </a:moveTo>
                    <a:cubicBezTo>
                      <a:pt x="97" y="0"/>
                      <a:pt x="97" y="0"/>
                      <a:pt x="97" y="0"/>
                    </a:cubicBezTo>
                    <a:cubicBezTo>
                      <a:pt x="97" y="153"/>
                      <a:pt x="97" y="153"/>
                      <a:pt x="97" y="153"/>
                    </a:cubicBezTo>
                    <a:cubicBezTo>
                      <a:pt x="249" y="153"/>
                      <a:pt x="249" y="153"/>
                      <a:pt x="249" y="153"/>
                    </a:cubicBezTo>
                    <a:cubicBezTo>
                      <a:pt x="249" y="215"/>
                      <a:pt x="249" y="215"/>
                      <a:pt x="249" y="215"/>
                    </a:cubicBezTo>
                    <a:cubicBezTo>
                      <a:pt x="97" y="215"/>
                      <a:pt x="97" y="215"/>
                      <a:pt x="97" y="215"/>
                    </a:cubicBezTo>
                    <a:cubicBezTo>
                      <a:pt x="97" y="515"/>
                      <a:pt x="97" y="515"/>
                      <a:pt x="97" y="515"/>
                    </a:cubicBezTo>
                    <a:cubicBezTo>
                      <a:pt x="97" y="572"/>
                      <a:pt x="105" y="610"/>
                      <a:pt x="122" y="630"/>
                    </a:cubicBezTo>
                    <a:cubicBezTo>
                      <a:pt x="134" y="644"/>
                      <a:pt x="152" y="652"/>
                      <a:pt x="176" y="655"/>
                    </a:cubicBezTo>
                    <a:cubicBezTo>
                      <a:pt x="184" y="656"/>
                      <a:pt x="197" y="657"/>
                      <a:pt x="217" y="657"/>
                    </a:cubicBezTo>
                    <a:cubicBezTo>
                      <a:pt x="249" y="657"/>
                      <a:pt x="249" y="657"/>
                      <a:pt x="249" y="657"/>
                    </a:cubicBezTo>
                    <a:cubicBezTo>
                      <a:pt x="249" y="718"/>
                      <a:pt x="249" y="718"/>
                      <a:pt x="249" y="718"/>
                    </a:cubicBezTo>
                    <a:cubicBezTo>
                      <a:pt x="197" y="718"/>
                      <a:pt x="197" y="718"/>
                      <a:pt x="197" y="718"/>
                    </a:cubicBezTo>
                    <a:cubicBezTo>
                      <a:pt x="155" y="718"/>
                      <a:pt x="123" y="715"/>
                      <a:pt x="99" y="709"/>
                    </a:cubicBezTo>
                    <a:cubicBezTo>
                      <a:pt x="50" y="695"/>
                      <a:pt x="20" y="663"/>
                      <a:pt x="9" y="613"/>
                    </a:cubicBezTo>
                    <a:cubicBezTo>
                      <a:pt x="3" y="586"/>
                      <a:pt x="0" y="549"/>
                      <a:pt x="0" y="501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/>
              </a:p>
            </p:txBody>
          </p:sp>
          <p:sp>
            <p:nvSpPr>
              <p:cNvPr id="51" name="Freeform 83"/>
              <p:cNvSpPr>
                <a:spLocks noEditPoints="1"/>
              </p:cNvSpPr>
              <p:nvPr/>
            </p:nvSpPr>
            <p:spPr bwMode="gray">
              <a:xfrm>
                <a:off x="2502" y="1949"/>
                <a:ext cx="95" cy="120"/>
              </a:xfrm>
              <a:custGeom>
                <a:avLst/>
                <a:gdLst>
                  <a:gd name="T0" fmla="*/ 238 w 476"/>
                  <a:gd name="T1" fmla="*/ 0 h 597"/>
                  <a:gd name="T2" fmla="*/ 419 w 476"/>
                  <a:gd name="T3" fmla="*/ 81 h 597"/>
                  <a:gd name="T4" fmla="*/ 476 w 476"/>
                  <a:gd name="T5" fmla="*/ 299 h 597"/>
                  <a:gd name="T6" fmla="*/ 419 w 476"/>
                  <a:gd name="T7" fmla="*/ 516 h 597"/>
                  <a:gd name="T8" fmla="*/ 239 w 476"/>
                  <a:gd name="T9" fmla="*/ 597 h 597"/>
                  <a:gd name="T10" fmla="*/ 0 w 476"/>
                  <a:gd name="T11" fmla="*/ 295 h 597"/>
                  <a:gd name="T12" fmla="*/ 57 w 476"/>
                  <a:gd name="T13" fmla="*/ 81 h 597"/>
                  <a:gd name="T14" fmla="*/ 238 w 476"/>
                  <a:gd name="T15" fmla="*/ 0 h 597"/>
                  <a:gd name="T16" fmla="*/ 238 w 476"/>
                  <a:gd name="T17" fmla="*/ 59 h 597"/>
                  <a:gd name="T18" fmla="*/ 125 w 476"/>
                  <a:gd name="T19" fmla="*/ 132 h 597"/>
                  <a:gd name="T20" fmla="*/ 99 w 476"/>
                  <a:gd name="T21" fmla="*/ 296 h 597"/>
                  <a:gd name="T22" fmla="*/ 125 w 476"/>
                  <a:gd name="T23" fmla="*/ 465 h 597"/>
                  <a:gd name="T24" fmla="*/ 238 w 476"/>
                  <a:gd name="T25" fmla="*/ 539 h 597"/>
                  <a:gd name="T26" fmla="*/ 351 w 476"/>
                  <a:gd name="T27" fmla="*/ 465 h 597"/>
                  <a:gd name="T28" fmla="*/ 377 w 476"/>
                  <a:gd name="T29" fmla="*/ 299 h 597"/>
                  <a:gd name="T30" fmla="*/ 351 w 476"/>
                  <a:gd name="T31" fmla="*/ 132 h 597"/>
                  <a:gd name="T32" fmla="*/ 238 w 476"/>
                  <a:gd name="T33" fmla="*/ 59 h 5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76" h="597">
                    <a:moveTo>
                      <a:pt x="238" y="0"/>
                    </a:moveTo>
                    <a:cubicBezTo>
                      <a:pt x="319" y="0"/>
                      <a:pt x="379" y="27"/>
                      <a:pt x="419" y="81"/>
                    </a:cubicBezTo>
                    <a:cubicBezTo>
                      <a:pt x="457" y="133"/>
                      <a:pt x="476" y="205"/>
                      <a:pt x="476" y="299"/>
                    </a:cubicBezTo>
                    <a:cubicBezTo>
                      <a:pt x="476" y="391"/>
                      <a:pt x="457" y="464"/>
                      <a:pt x="419" y="516"/>
                    </a:cubicBezTo>
                    <a:cubicBezTo>
                      <a:pt x="380" y="570"/>
                      <a:pt x="320" y="597"/>
                      <a:pt x="239" y="597"/>
                    </a:cubicBezTo>
                    <a:cubicBezTo>
                      <a:pt x="79" y="597"/>
                      <a:pt x="0" y="496"/>
                      <a:pt x="0" y="295"/>
                    </a:cubicBezTo>
                    <a:cubicBezTo>
                      <a:pt x="0" y="204"/>
                      <a:pt x="19" y="133"/>
                      <a:pt x="57" y="81"/>
                    </a:cubicBezTo>
                    <a:cubicBezTo>
                      <a:pt x="96" y="27"/>
                      <a:pt x="157" y="0"/>
                      <a:pt x="238" y="0"/>
                    </a:cubicBezTo>
                    <a:moveTo>
                      <a:pt x="238" y="59"/>
                    </a:moveTo>
                    <a:cubicBezTo>
                      <a:pt x="183" y="59"/>
                      <a:pt x="145" y="83"/>
                      <a:pt x="125" y="132"/>
                    </a:cubicBezTo>
                    <a:cubicBezTo>
                      <a:pt x="107" y="173"/>
                      <a:pt x="99" y="227"/>
                      <a:pt x="99" y="296"/>
                    </a:cubicBezTo>
                    <a:cubicBezTo>
                      <a:pt x="99" y="368"/>
                      <a:pt x="107" y="424"/>
                      <a:pt x="125" y="465"/>
                    </a:cubicBezTo>
                    <a:cubicBezTo>
                      <a:pt x="145" y="514"/>
                      <a:pt x="183" y="539"/>
                      <a:pt x="238" y="539"/>
                    </a:cubicBezTo>
                    <a:cubicBezTo>
                      <a:pt x="293" y="539"/>
                      <a:pt x="330" y="514"/>
                      <a:pt x="351" y="465"/>
                    </a:cubicBezTo>
                    <a:cubicBezTo>
                      <a:pt x="368" y="424"/>
                      <a:pt x="377" y="369"/>
                      <a:pt x="377" y="299"/>
                    </a:cubicBezTo>
                    <a:cubicBezTo>
                      <a:pt x="377" y="227"/>
                      <a:pt x="368" y="172"/>
                      <a:pt x="351" y="132"/>
                    </a:cubicBezTo>
                    <a:cubicBezTo>
                      <a:pt x="330" y="83"/>
                      <a:pt x="292" y="59"/>
                      <a:pt x="238" y="59"/>
                    </a:cubicBezTo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/>
              </a:p>
            </p:txBody>
          </p:sp>
          <p:sp>
            <p:nvSpPr>
              <p:cNvPr id="52" name="Freeform 84"/>
              <p:cNvSpPr>
                <a:spLocks/>
              </p:cNvSpPr>
              <p:nvPr/>
            </p:nvSpPr>
            <p:spPr bwMode="gray">
              <a:xfrm>
                <a:off x="2625" y="1949"/>
                <a:ext cx="146" cy="116"/>
              </a:xfrm>
              <a:custGeom>
                <a:avLst/>
                <a:gdLst>
                  <a:gd name="T0" fmla="*/ 0 w 730"/>
                  <a:gd name="T1" fmla="*/ 581 h 581"/>
                  <a:gd name="T2" fmla="*/ 0 w 730"/>
                  <a:gd name="T3" fmla="*/ 23 h 581"/>
                  <a:gd name="T4" fmla="*/ 209 w 730"/>
                  <a:gd name="T5" fmla="*/ 0 h 581"/>
                  <a:gd name="T6" fmla="*/ 360 w 730"/>
                  <a:gd name="T7" fmla="*/ 37 h 581"/>
                  <a:gd name="T8" fmla="*/ 541 w 730"/>
                  <a:gd name="T9" fmla="*/ 0 h 581"/>
                  <a:gd name="T10" fmla="*/ 714 w 730"/>
                  <a:gd name="T11" fmla="*/ 90 h 581"/>
                  <a:gd name="T12" fmla="*/ 730 w 730"/>
                  <a:gd name="T13" fmla="*/ 234 h 581"/>
                  <a:gd name="T14" fmla="*/ 730 w 730"/>
                  <a:gd name="T15" fmla="*/ 581 h 581"/>
                  <a:gd name="T16" fmla="*/ 634 w 730"/>
                  <a:gd name="T17" fmla="*/ 581 h 581"/>
                  <a:gd name="T18" fmla="*/ 634 w 730"/>
                  <a:gd name="T19" fmla="*/ 240 h 581"/>
                  <a:gd name="T20" fmla="*/ 618 w 730"/>
                  <a:gd name="T21" fmla="*/ 106 h 581"/>
                  <a:gd name="T22" fmla="*/ 528 w 730"/>
                  <a:gd name="T23" fmla="*/ 59 h 581"/>
                  <a:gd name="T24" fmla="*/ 413 w 730"/>
                  <a:gd name="T25" fmla="*/ 85 h 581"/>
                  <a:gd name="T26" fmla="*/ 413 w 730"/>
                  <a:gd name="T27" fmla="*/ 581 h 581"/>
                  <a:gd name="T28" fmla="*/ 317 w 730"/>
                  <a:gd name="T29" fmla="*/ 581 h 581"/>
                  <a:gd name="T30" fmla="*/ 317 w 730"/>
                  <a:gd name="T31" fmla="*/ 236 h 581"/>
                  <a:gd name="T32" fmla="*/ 301 w 730"/>
                  <a:gd name="T33" fmla="*/ 106 h 581"/>
                  <a:gd name="T34" fmla="*/ 209 w 730"/>
                  <a:gd name="T35" fmla="*/ 59 h 581"/>
                  <a:gd name="T36" fmla="*/ 96 w 730"/>
                  <a:gd name="T37" fmla="*/ 71 h 581"/>
                  <a:gd name="T38" fmla="*/ 96 w 730"/>
                  <a:gd name="T39" fmla="*/ 581 h 581"/>
                  <a:gd name="T40" fmla="*/ 0 w 730"/>
                  <a:gd name="T41" fmla="*/ 581 h 5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730" h="581">
                    <a:moveTo>
                      <a:pt x="0" y="581"/>
                    </a:moveTo>
                    <a:cubicBezTo>
                      <a:pt x="0" y="23"/>
                      <a:pt x="0" y="23"/>
                      <a:pt x="0" y="23"/>
                    </a:cubicBezTo>
                    <a:cubicBezTo>
                      <a:pt x="88" y="8"/>
                      <a:pt x="158" y="0"/>
                      <a:pt x="209" y="0"/>
                    </a:cubicBezTo>
                    <a:cubicBezTo>
                      <a:pt x="276" y="0"/>
                      <a:pt x="326" y="12"/>
                      <a:pt x="360" y="37"/>
                    </a:cubicBezTo>
                    <a:cubicBezTo>
                      <a:pt x="421" y="12"/>
                      <a:pt x="481" y="0"/>
                      <a:pt x="541" y="0"/>
                    </a:cubicBezTo>
                    <a:cubicBezTo>
                      <a:pt x="632" y="0"/>
                      <a:pt x="690" y="30"/>
                      <a:pt x="714" y="90"/>
                    </a:cubicBezTo>
                    <a:cubicBezTo>
                      <a:pt x="725" y="118"/>
                      <a:pt x="730" y="166"/>
                      <a:pt x="730" y="234"/>
                    </a:cubicBezTo>
                    <a:cubicBezTo>
                      <a:pt x="730" y="581"/>
                      <a:pt x="730" y="581"/>
                      <a:pt x="730" y="581"/>
                    </a:cubicBezTo>
                    <a:cubicBezTo>
                      <a:pt x="634" y="581"/>
                      <a:pt x="634" y="581"/>
                      <a:pt x="634" y="581"/>
                    </a:cubicBezTo>
                    <a:cubicBezTo>
                      <a:pt x="634" y="240"/>
                      <a:pt x="634" y="240"/>
                      <a:pt x="634" y="240"/>
                    </a:cubicBezTo>
                    <a:cubicBezTo>
                      <a:pt x="634" y="174"/>
                      <a:pt x="628" y="129"/>
                      <a:pt x="618" y="106"/>
                    </a:cubicBezTo>
                    <a:cubicBezTo>
                      <a:pt x="604" y="75"/>
                      <a:pt x="574" y="59"/>
                      <a:pt x="528" y="59"/>
                    </a:cubicBezTo>
                    <a:cubicBezTo>
                      <a:pt x="491" y="59"/>
                      <a:pt x="452" y="68"/>
                      <a:pt x="413" y="85"/>
                    </a:cubicBezTo>
                    <a:cubicBezTo>
                      <a:pt x="413" y="581"/>
                      <a:pt x="413" y="581"/>
                      <a:pt x="413" y="581"/>
                    </a:cubicBezTo>
                    <a:cubicBezTo>
                      <a:pt x="317" y="581"/>
                      <a:pt x="317" y="581"/>
                      <a:pt x="317" y="581"/>
                    </a:cubicBezTo>
                    <a:cubicBezTo>
                      <a:pt x="317" y="236"/>
                      <a:pt x="317" y="236"/>
                      <a:pt x="317" y="236"/>
                    </a:cubicBezTo>
                    <a:cubicBezTo>
                      <a:pt x="317" y="172"/>
                      <a:pt x="312" y="129"/>
                      <a:pt x="301" y="106"/>
                    </a:cubicBezTo>
                    <a:cubicBezTo>
                      <a:pt x="286" y="75"/>
                      <a:pt x="255" y="59"/>
                      <a:pt x="209" y="59"/>
                    </a:cubicBezTo>
                    <a:cubicBezTo>
                      <a:pt x="173" y="59"/>
                      <a:pt x="135" y="63"/>
                      <a:pt x="96" y="71"/>
                    </a:cubicBezTo>
                    <a:cubicBezTo>
                      <a:pt x="96" y="581"/>
                      <a:pt x="96" y="581"/>
                      <a:pt x="96" y="581"/>
                    </a:cubicBezTo>
                    <a:lnTo>
                      <a:pt x="0" y="58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/>
              </a:p>
            </p:txBody>
          </p:sp>
          <p:sp>
            <p:nvSpPr>
              <p:cNvPr id="53" name="Freeform 85"/>
              <p:cNvSpPr>
                <a:spLocks noEditPoints="1"/>
              </p:cNvSpPr>
              <p:nvPr/>
            </p:nvSpPr>
            <p:spPr bwMode="gray">
              <a:xfrm>
                <a:off x="2797" y="1949"/>
                <a:ext cx="95" cy="120"/>
              </a:xfrm>
              <a:custGeom>
                <a:avLst/>
                <a:gdLst>
                  <a:gd name="T0" fmla="*/ 238 w 475"/>
                  <a:gd name="T1" fmla="*/ 0 h 597"/>
                  <a:gd name="T2" fmla="*/ 418 w 475"/>
                  <a:gd name="T3" fmla="*/ 81 h 597"/>
                  <a:gd name="T4" fmla="*/ 475 w 475"/>
                  <a:gd name="T5" fmla="*/ 299 h 597"/>
                  <a:gd name="T6" fmla="*/ 418 w 475"/>
                  <a:gd name="T7" fmla="*/ 516 h 597"/>
                  <a:gd name="T8" fmla="*/ 238 w 475"/>
                  <a:gd name="T9" fmla="*/ 597 h 597"/>
                  <a:gd name="T10" fmla="*/ 0 w 475"/>
                  <a:gd name="T11" fmla="*/ 295 h 597"/>
                  <a:gd name="T12" fmla="*/ 57 w 475"/>
                  <a:gd name="T13" fmla="*/ 81 h 597"/>
                  <a:gd name="T14" fmla="*/ 238 w 475"/>
                  <a:gd name="T15" fmla="*/ 0 h 597"/>
                  <a:gd name="T16" fmla="*/ 238 w 475"/>
                  <a:gd name="T17" fmla="*/ 59 h 597"/>
                  <a:gd name="T18" fmla="*/ 124 w 475"/>
                  <a:gd name="T19" fmla="*/ 132 h 597"/>
                  <a:gd name="T20" fmla="*/ 98 w 475"/>
                  <a:gd name="T21" fmla="*/ 296 h 597"/>
                  <a:gd name="T22" fmla="*/ 124 w 475"/>
                  <a:gd name="T23" fmla="*/ 465 h 597"/>
                  <a:gd name="T24" fmla="*/ 238 w 475"/>
                  <a:gd name="T25" fmla="*/ 539 h 597"/>
                  <a:gd name="T26" fmla="*/ 350 w 475"/>
                  <a:gd name="T27" fmla="*/ 465 h 597"/>
                  <a:gd name="T28" fmla="*/ 376 w 475"/>
                  <a:gd name="T29" fmla="*/ 299 h 597"/>
                  <a:gd name="T30" fmla="*/ 350 w 475"/>
                  <a:gd name="T31" fmla="*/ 132 h 597"/>
                  <a:gd name="T32" fmla="*/ 238 w 475"/>
                  <a:gd name="T33" fmla="*/ 59 h 5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75" h="597">
                    <a:moveTo>
                      <a:pt x="238" y="0"/>
                    </a:moveTo>
                    <a:cubicBezTo>
                      <a:pt x="319" y="0"/>
                      <a:pt x="379" y="27"/>
                      <a:pt x="418" y="81"/>
                    </a:cubicBezTo>
                    <a:cubicBezTo>
                      <a:pt x="456" y="133"/>
                      <a:pt x="475" y="205"/>
                      <a:pt x="475" y="299"/>
                    </a:cubicBezTo>
                    <a:cubicBezTo>
                      <a:pt x="475" y="391"/>
                      <a:pt x="456" y="464"/>
                      <a:pt x="418" y="516"/>
                    </a:cubicBezTo>
                    <a:cubicBezTo>
                      <a:pt x="379" y="570"/>
                      <a:pt x="319" y="597"/>
                      <a:pt x="238" y="597"/>
                    </a:cubicBezTo>
                    <a:cubicBezTo>
                      <a:pt x="79" y="597"/>
                      <a:pt x="0" y="496"/>
                      <a:pt x="0" y="295"/>
                    </a:cubicBezTo>
                    <a:cubicBezTo>
                      <a:pt x="0" y="204"/>
                      <a:pt x="19" y="133"/>
                      <a:pt x="57" y="81"/>
                    </a:cubicBezTo>
                    <a:cubicBezTo>
                      <a:pt x="96" y="27"/>
                      <a:pt x="156" y="0"/>
                      <a:pt x="238" y="0"/>
                    </a:cubicBezTo>
                    <a:moveTo>
                      <a:pt x="238" y="59"/>
                    </a:moveTo>
                    <a:cubicBezTo>
                      <a:pt x="183" y="59"/>
                      <a:pt x="145" y="83"/>
                      <a:pt x="124" y="132"/>
                    </a:cubicBezTo>
                    <a:cubicBezTo>
                      <a:pt x="107" y="173"/>
                      <a:pt x="98" y="227"/>
                      <a:pt x="98" y="296"/>
                    </a:cubicBezTo>
                    <a:cubicBezTo>
                      <a:pt x="98" y="368"/>
                      <a:pt x="107" y="424"/>
                      <a:pt x="124" y="465"/>
                    </a:cubicBezTo>
                    <a:cubicBezTo>
                      <a:pt x="145" y="514"/>
                      <a:pt x="183" y="539"/>
                      <a:pt x="238" y="539"/>
                    </a:cubicBezTo>
                    <a:cubicBezTo>
                      <a:pt x="292" y="539"/>
                      <a:pt x="330" y="514"/>
                      <a:pt x="350" y="465"/>
                    </a:cubicBezTo>
                    <a:cubicBezTo>
                      <a:pt x="368" y="424"/>
                      <a:pt x="376" y="369"/>
                      <a:pt x="376" y="299"/>
                    </a:cubicBezTo>
                    <a:cubicBezTo>
                      <a:pt x="376" y="227"/>
                      <a:pt x="368" y="172"/>
                      <a:pt x="350" y="132"/>
                    </a:cubicBezTo>
                    <a:cubicBezTo>
                      <a:pt x="329" y="83"/>
                      <a:pt x="292" y="59"/>
                      <a:pt x="238" y="59"/>
                    </a:cubicBezTo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/>
              </a:p>
            </p:txBody>
          </p:sp>
          <p:sp>
            <p:nvSpPr>
              <p:cNvPr id="54" name="Freeform 86"/>
              <p:cNvSpPr>
                <a:spLocks/>
              </p:cNvSpPr>
              <p:nvPr/>
            </p:nvSpPr>
            <p:spPr bwMode="gray">
              <a:xfrm>
                <a:off x="2922" y="1949"/>
                <a:ext cx="49" cy="116"/>
              </a:xfrm>
              <a:custGeom>
                <a:avLst/>
                <a:gdLst>
                  <a:gd name="T0" fmla="*/ 0 w 244"/>
                  <a:gd name="T1" fmla="*/ 581 h 581"/>
                  <a:gd name="T2" fmla="*/ 0 w 244"/>
                  <a:gd name="T3" fmla="*/ 25 h 581"/>
                  <a:gd name="T4" fmla="*/ 244 w 244"/>
                  <a:gd name="T5" fmla="*/ 0 h 581"/>
                  <a:gd name="T6" fmla="*/ 244 w 244"/>
                  <a:gd name="T7" fmla="*/ 61 h 581"/>
                  <a:gd name="T8" fmla="*/ 97 w 244"/>
                  <a:gd name="T9" fmla="*/ 71 h 581"/>
                  <a:gd name="T10" fmla="*/ 97 w 244"/>
                  <a:gd name="T11" fmla="*/ 581 h 581"/>
                  <a:gd name="T12" fmla="*/ 0 w 244"/>
                  <a:gd name="T13" fmla="*/ 581 h 5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4" h="581">
                    <a:moveTo>
                      <a:pt x="0" y="581"/>
                    </a:moveTo>
                    <a:cubicBezTo>
                      <a:pt x="0" y="25"/>
                      <a:pt x="0" y="25"/>
                      <a:pt x="0" y="25"/>
                    </a:cubicBezTo>
                    <a:cubicBezTo>
                      <a:pt x="74" y="9"/>
                      <a:pt x="155" y="1"/>
                      <a:pt x="244" y="0"/>
                    </a:cubicBezTo>
                    <a:cubicBezTo>
                      <a:pt x="244" y="61"/>
                      <a:pt x="244" y="61"/>
                      <a:pt x="244" y="61"/>
                    </a:cubicBezTo>
                    <a:cubicBezTo>
                      <a:pt x="190" y="61"/>
                      <a:pt x="141" y="65"/>
                      <a:pt x="97" y="71"/>
                    </a:cubicBezTo>
                    <a:cubicBezTo>
                      <a:pt x="97" y="581"/>
                      <a:pt x="97" y="581"/>
                      <a:pt x="97" y="581"/>
                    </a:cubicBezTo>
                    <a:lnTo>
                      <a:pt x="0" y="58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/>
              </a:p>
            </p:txBody>
          </p:sp>
          <p:sp>
            <p:nvSpPr>
              <p:cNvPr id="55" name="Freeform 87"/>
              <p:cNvSpPr>
                <a:spLocks/>
              </p:cNvSpPr>
              <p:nvPr/>
            </p:nvSpPr>
            <p:spPr bwMode="gray">
              <a:xfrm>
                <a:off x="2992" y="1949"/>
                <a:ext cx="49" cy="116"/>
              </a:xfrm>
              <a:custGeom>
                <a:avLst/>
                <a:gdLst>
                  <a:gd name="T0" fmla="*/ 0 w 244"/>
                  <a:gd name="T1" fmla="*/ 581 h 581"/>
                  <a:gd name="T2" fmla="*/ 0 w 244"/>
                  <a:gd name="T3" fmla="*/ 25 h 581"/>
                  <a:gd name="T4" fmla="*/ 244 w 244"/>
                  <a:gd name="T5" fmla="*/ 0 h 581"/>
                  <a:gd name="T6" fmla="*/ 244 w 244"/>
                  <a:gd name="T7" fmla="*/ 61 h 581"/>
                  <a:gd name="T8" fmla="*/ 97 w 244"/>
                  <a:gd name="T9" fmla="*/ 71 h 581"/>
                  <a:gd name="T10" fmla="*/ 97 w 244"/>
                  <a:gd name="T11" fmla="*/ 581 h 581"/>
                  <a:gd name="T12" fmla="*/ 0 w 244"/>
                  <a:gd name="T13" fmla="*/ 581 h 5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4" h="581">
                    <a:moveTo>
                      <a:pt x="0" y="581"/>
                    </a:moveTo>
                    <a:cubicBezTo>
                      <a:pt x="0" y="25"/>
                      <a:pt x="0" y="25"/>
                      <a:pt x="0" y="25"/>
                    </a:cubicBezTo>
                    <a:cubicBezTo>
                      <a:pt x="74" y="9"/>
                      <a:pt x="155" y="1"/>
                      <a:pt x="244" y="0"/>
                    </a:cubicBezTo>
                    <a:cubicBezTo>
                      <a:pt x="244" y="61"/>
                      <a:pt x="244" y="61"/>
                      <a:pt x="244" y="61"/>
                    </a:cubicBezTo>
                    <a:cubicBezTo>
                      <a:pt x="190" y="61"/>
                      <a:pt x="140" y="65"/>
                      <a:pt x="97" y="71"/>
                    </a:cubicBezTo>
                    <a:cubicBezTo>
                      <a:pt x="97" y="581"/>
                      <a:pt x="97" y="581"/>
                      <a:pt x="97" y="581"/>
                    </a:cubicBezTo>
                    <a:lnTo>
                      <a:pt x="0" y="58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/>
              </a:p>
            </p:txBody>
          </p:sp>
          <p:sp>
            <p:nvSpPr>
              <p:cNvPr id="56" name="Freeform 88"/>
              <p:cNvSpPr>
                <a:spLocks noEditPoints="1"/>
              </p:cNvSpPr>
              <p:nvPr/>
            </p:nvSpPr>
            <p:spPr bwMode="gray">
              <a:xfrm>
                <a:off x="3054" y="1949"/>
                <a:ext cx="95" cy="120"/>
              </a:xfrm>
              <a:custGeom>
                <a:avLst/>
                <a:gdLst>
                  <a:gd name="T0" fmla="*/ 238 w 476"/>
                  <a:gd name="T1" fmla="*/ 0 h 597"/>
                  <a:gd name="T2" fmla="*/ 419 w 476"/>
                  <a:gd name="T3" fmla="*/ 81 h 597"/>
                  <a:gd name="T4" fmla="*/ 476 w 476"/>
                  <a:gd name="T5" fmla="*/ 299 h 597"/>
                  <a:gd name="T6" fmla="*/ 419 w 476"/>
                  <a:gd name="T7" fmla="*/ 516 h 597"/>
                  <a:gd name="T8" fmla="*/ 239 w 476"/>
                  <a:gd name="T9" fmla="*/ 597 h 597"/>
                  <a:gd name="T10" fmla="*/ 0 w 476"/>
                  <a:gd name="T11" fmla="*/ 295 h 597"/>
                  <a:gd name="T12" fmla="*/ 57 w 476"/>
                  <a:gd name="T13" fmla="*/ 81 h 597"/>
                  <a:gd name="T14" fmla="*/ 238 w 476"/>
                  <a:gd name="T15" fmla="*/ 0 h 597"/>
                  <a:gd name="T16" fmla="*/ 238 w 476"/>
                  <a:gd name="T17" fmla="*/ 59 h 597"/>
                  <a:gd name="T18" fmla="*/ 125 w 476"/>
                  <a:gd name="T19" fmla="*/ 132 h 597"/>
                  <a:gd name="T20" fmla="*/ 99 w 476"/>
                  <a:gd name="T21" fmla="*/ 296 h 597"/>
                  <a:gd name="T22" fmla="*/ 125 w 476"/>
                  <a:gd name="T23" fmla="*/ 465 h 597"/>
                  <a:gd name="T24" fmla="*/ 238 w 476"/>
                  <a:gd name="T25" fmla="*/ 539 h 597"/>
                  <a:gd name="T26" fmla="*/ 351 w 476"/>
                  <a:gd name="T27" fmla="*/ 465 h 597"/>
                  <a:gd name="T28" fmla="*/ 377 w 476"/>
                  <a:gd name="T29" fmla="*/ 299 h 597"/>
                  <a:gd name="T30" fmla="*/ 351 w 476"/>
                  <a:gd name="T31" fmla="*/ 132 h 597"/>
                  <a:gd name="T32" fmla="*/ 238 w 476"/>
                  <a:gd name="T33" fmla="*/ 59 h 5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76" h="597">
                    <a:moveTo>
                      <a:pt x="238" y="0"/>
                    </a:moveTo>
                    <a:cubicBezTo>
                      <a:pt x="319" y="0"/>
                      <a:pt x="379" y="27"/>
                      <a:pt x="419" y="81"/>
                    </a:cubicBezTo>
                    <a:cubicBezTo>
                      <a:pt x="457" y="133"/>
                      <a:pt x="476" y="205"/>
                      <a:pt x="476" y="299"/>
                    </a:cubicBezTo>
                    <a:cubicBezTo>
                      <a:pt x="476" y="391"/>
                      <a:pt x="457" y="464"/>
                      <a:pt x="419" y="516"/>
                    </a:cubicBezTo>
                    <a:cubicBezTo>
                      <a:pt x="380" y="570"/>
                      <a:pt x="320" y="597"/>
                      <a:pt x="239" y="597"/>
                    </a:cubicBezTo>
                    <a:cubicBezTo>
                      <a:pt x="80" y="597"/>
                      <a:pt x="0" y="496"/>
                      <a:pt x="0" y="295"/>
                    </a:cubicBezTo>
                    <a:cubicBezTo>
                      <a:pt x="0" y="204"/>
                      <a:pt x="19" y="133"/>
                      <a:pt x="57" y="81"/>
                    </a:cubicBezTo>
                    <a:cubicBezTo>
                      <a:pt x="97" y="27"/>
                      <a:pt x="157" y="0"/>
                      <a:pt x="238" y="0"/>
                    </a:cubicBezTo>
                    <a:moveTo>
                      <a:pt x="238" y="59"/>
                    </a:moveTo>
                    <a:cubicBezTo>
                      <a:pt x="184" y="59"/>
                      <a:pt x="146" y="83"/>
                      <a:pt x="125" y="132"/>
                    </a:cubicBezTo>
                    <a:cubicBezTo>
                      <a:pt x="108" y="173"/>
                      <a:pt x="99" y="227"/>
                      <a:pt x="99" y="296"/>
                    </a:cubicBezTo>
                    <a:cubicBezTo>
                      <a:pt x="99" y="368"/>
                      <a:pt x="108" y="424"/>
                      <a:pt x="125" y="465"/>
                    </a:cubicBezTo>
                    <a:cubicBezTo>
                      <a:pt x="146" y="514"/>
                      <a:pt x="184" y="539"/>
                      <a:pt x="238" y="539"/>
                    </a:cubicBezTo>
                    <a:cubicBezTo>
                      <a:pt x="293" y="539"/>
                      <a:pt x="331" y="514"/>
                      <a:pt x="351" y="465"/>
                    </a:cubicBezTo>
                    <a:cubicBezTo>
                      <a:pt x="368" y="424"/>
                      <a:pt x="377" y="369"/>
                      <a:pt x="377" y="299"/>
                    </a:cubicBezTo>
                    <a:cubicBezTo>
                      <a:pt x="377" y="227"/>
                      <a:pt x="368" y="172"/>
                      <a:pt x="351" y="132"/>
                    </a:cubicBezTo>
                    <a:cubicBezTo>
                      <a:pt x="330" y="83"/>
                      <a:pt x="293" y="59"/>
                      <a:pt x="238" y="59"/>
                    </a:cubicBezTo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/>
              </a:p>
            </p:txBody>
          </p:sp>
          <p:sp>
            <p:nvSpPr>
              <p:cNvPr id="57" name="Freeform 89"/>
              <p:cNvSpPr>
                <a:spLocks/>
              </p:cNvSpPr>
              <p:nvPr/>
            </p:nvSpPr>
            <p:spPr bwMode="gray">
              <a:xfrm>
                <a:off x="3162" y="1952"/>
                <a:ext cx="145" cy="113"/>
              </a:xfrm>
              <a:custGeom>
                <a:avLst/>
                <a:gdLst>
                  <a:gd name="T0" fmla="*/ 159 w 728"/>
                  <a:gd name="T1" fmla="*/ 565 h 565"/>
                  <a:gd name="T2" fmla="*/ 0 w 728"/>
                  <a:gd name="T3" fmla="*/ 0 h 565"/>
                  <a:gd name="T4" fmla="*/ 97 w 728"/>
                  <a:gd name="T5" fmla="*/ 0 h 565"/>
                  <a:gd name="T6" fmla="*/ 217 w 728"/>
                  <a:gd name="T7" fmla="*/ 461 h 565"/>
                  <a:gd name="T8" fmla="*/ 323 w 728"/>
                  <a:gd name="T9" fmla="*/ 0 h 565"/>
                  <a:gd name="T10" fmla="*/ 418 w 728"/>
                  <a:gd name="T11" fmla="*/ 0 h 565"/>
                  <a:gd name="T12" fmla="*/ 529 w 728"/>
                  <a:gd name="T13" fmla="*/ 461 h 565"/>
                  <a:gd name="T14" fmla="*/ 649 w 728"/>
                  <a:gd name="T15" fmla="*/ 0 h 565"/>
                  <a:gd name="T16" fmla="*/ 728 w 728"/>
                  <a:gd name="T17" fmla="*/ 0 h 565"/>
                  <a:gd name="T18" fmla="*/ 568 w 728"/>
                  <a:gd name="T19" fmla="*/ 565 h 565"/>
                  <a:gd name="T20" fmla="*/ 472 w 728"/>
                  <a:gd name="T21" fmla="*/ 565 h 565"/>
                  <a:gd name="T22" fmla="*/ 388 w 728"/>
                  <a:gd name="T23" fmla="*/ 199 h 565"/>
                  <a:gd name="T24" fmla="*/ 366 w 728"/>
                  <a:gd name="T25" fmla="*/ 84 h 565"/>
                  <a:gd name="T26" fmla="*/ 345 w 728"/>
                  <a:gd name="T27" fmla="*/ 199 h 565"/>
                  <a:gd name="T28" fmla="*/ 260 w 728"/>
                  <a:gd name="T29" fmla="*/ 565 h 565"/>
                  <a:gd name="T30" fmla="*/ 159 w 728"/>
                  <a:gd name="T31" fmla="*/ 565 h 5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728" h="565">
                    <a:moveTo>
                      <a:pt x="159" y="565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97" y="0"/>
                      <a:pt x="97" y="0"/>
                      <a:pt x="97" y="0"/>
                    </a:cubicBezTo>
                    <a:cubicBezTo>
                      <a:pt x="217" y="461"/>
                      <a:pt x="217" y="461"/>
                      <a:pt x="217" y="461"/>
                    </a:cubicBezTo>
                    <a:cubicBezTo>
                      <a:pt x="323" y="0"/>
                      <a:pt x="323" y="0"/>
                      <a:pt x="323" y="0"/>
                    </a:cubicBezTo>
                    <a:cubicBezTo>
                      <a:pt x="418" y="0"/>
                      <a:pt x="418" y="0"/>
                      <a:pt x="418" y="0"/>
                    </a:cubicBezTo>
                    <a:cubicBezTo>
                      <a:pt x="529" y="461"/>
                      <a:pt x="529" y="461"/>
                      <a:pt x="529" y="461"/>
                    </a:cubicBezTo>
                    <a:cubicBezTo>
                      <a:pt x="649" y="0"/>
                      <a:pt x="649" y="0"/>
                      <a:pt x="649" y="0"/>
                    </a:cubicBezTo>
                    <a:cubicBezTo>
                      <a:pt x="728" y="0"/>
                      <a:pt x="728" y="0"/>
                      <a:pt x="728" y="0"/>
                    </a:cubicBezTo>
                    <a:cubicBezTo>
                      <a:pt x="568" y="565"/>
                      <a:pt x="568" y="565"/>
                      <a:pt x="568" y="565"/>
                    </a:cubicBezTo>
                    <a:cubicBezTo>
                      <a:pt x="472" y="565"/>
                      <a:pt x="472" y="565"/>
                      <a:pt x="472" y="565"/>
                    </a:cubicBezTo>
                    <a:cubicBezTo>
                      <a:pt x="388" y="199"/>
                      <a:pt x="388" y="199"/>
                      <a:pt x="388" y="199"/>
                    </a:cubicBezTo>
                    <a:cubicBezTo>
                      <a:pt x="381" y="173"/>
                      <a:pt x="374" y="135"/>
                      <a:pt x="366" y="84"/>
                    </a:cubicBezTo>
                    <a:cubicBezTo>
                      <a:pt x="360" y="125"/>
                      <a:pt x="353" y="163"/>
                      <a:pt x="345" y="199"/>
                    </a:cubicBezTo>
                    <a:cubicBezTo>
                      <a:pt x="260" y="565"/>
                      <a:pt x="260" y="565"/>
                      <a:pt x="260" y="565"/>
                    </a:cubicBezTo>
                    <a:lnTo>
                      <a:pt x="159" y="56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/>
              </a:p>
            </p:txBody>
          </p:sp>
          <p:sp>
            <p:nvSpPr>
              <p:cNvPr id="58" name="Freeform 90"/>
              <p:cNvSpPr>
                <a:spLocks/>
              </p:cNvSpPr>
              <p:nvPr/>
            </p:nvSpPr>
            <p:spPr bwMode="gray">
              <a:xfrm>
                <a:off x="3365" y="1952"/>
                <a:ext cx="146" cy="113"/>
              </a:xfrm>
              <a:custGeom>
                <a:avLst/>
                <a:gdLst>
                  <a:gd name="T0" fmla="*/ 160 w 728"/>
                  <a:gd name="T1" fmla="*/ 565 h 565"/>
                  <a:gd name="T2" fmla="*/ 0 w 728"/>
                  <a:gd name="T3" fmla="*/ 0 h 565"/>
                  <a:gd name="T4" fmla="*/ 98 w 728"/>
                  <a:gd name="T5" fmla="*/ 0 h 565"/>
                  <a:gd name="T6" fmla="*/ 217 w 728"/>
                  <a:gd name="T7" fmla="*/ 461 h 565"/>
                  <a:gd name="T8" fmla="*/ 323 w 728"/>
                  <a:gd name="T9" fmla="*/ 0 h 565"/>
                  <a:gd name="T10" fmla="*/ 419 w 728"/>
                  <a:gd name="T11" fmla="*/ 0 h 565"/>
                  <a:gd name="T12" fmla="*/ 530 w 728"/>
                  <a:gd name="T13" fmla="*/ 461 h 565"/>
                  <a:gd name="T14" fmla="*/ 650 w 728"/>
                  <a:gd name="T15" fmla="*/ 0 h 565"/>
                  <a:gd name="T16" fmla="*/ 728 w 728"/>
                  <a:gd name="T17" fmla="*/ 0 h 565"/>
                  <a:gd name="T18" fmla="*/ 569 w 728"/>
                  <a:gd name="T19" fmla="*/ 565 h 565"/>
                  <a:gd name="T20" fmla="*/ 473 w 728"/>
                  <a:gd name="T21" fmla="*/ 565 h 565"/>
                  <a:gd name="T22" fmla="*/ 388 w 728"/>
                  <a:gd name="T23" fmla="*/ 199 h 565"/>
                  <a:gd name="T24" fmla="*/ 367 w 728"/>
                  <a:gd name="T25" fmla="*/ 84 h 565"/>
                  <a:gd name="T26" fmla="*/ 345 w 728"/>
                  <a:gd name="T27" fmla="*/ 199 h 565"/>
                  <a:gd name="T28" fmla="*/ 261 w 728"/>
                  <a:gd name="T29" fmla="*/ 565 h 565"/>
                  <a:gd name="T30" fmla="*/ 160 w 728"/>
                  <a:gd name="T31" fmla="*/ 565 h 5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728" h="565">
                    <a:moveTo>
                      <a:pt x="160" y="565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98" y="0"/>
                      <a:pt x="98" y="0"/>
                      <a:pt x="98" y="0"/>
                    </a:cubicBezTo>
                    <a:cubicBezTo>
                      <a:pt x="217" y="461"/>
                      <a:pt x="217" y="461"/>
                      <a:pt x="217" y="461"/>
                    </a:cubicBezTo>
                    <a:cubicBezTo>
                      <a:pt x="323" y="0"/>
                      <a:pt x="323" y="0"/>
                      <a:pt x="323" y="0"/>
                    </a:cubicBezTo>
                    <a:cubicBezTo>
                      <a:pt x="419" y="0"/>
                      <a:pt x="419" y="0"/>
                      <a:pt x="419" y="0"/>
                    </a:cubicBezTo>
                    <a:cubicBezTo>
                      <a:pt x="530" y="461"/>
                      <a:pt x="530" y="461"/>
                      <a:pt x="530" y="461"/>
                    </a:cubicBezTo>
                    <a:cubicBezTo>
                      <a:pt x="650" y="0"/>
                      <a:pt x="650" y="0"/>
                      <a:pt x="650" y="0"/>
                    </a:cubicBezTo>
                    <a:cubicBezTo>
                      <a:pt x="728" y="0"/>
                      <a:pt x="728" y="0"/>
                      <a:pt x="728" y="0"/>
                    </a:cubicBezTo>
                    <a:cubicBezTo>
                      <a:pt x="569" y="565"/>
                      <a:pt x="569" y="565"/>
                      <a:pt x="569" y="565"/>
                    </a:cubicBezTo>
                    <a:cubicBezTo>
                      <a:pt x="473" y="565"/>
                      <a:pt x="473" y="565"/>
                      <a:pt x="473" y="565"/>
                    </a:cubicBezTo>
                    <a:cubicBezTo>
                      <a:pt x="388" y="199"/>
                      <a:pt x="388" y="199"/>
                      <a:pt x="388" y="199"/>
                    </a:cubicBezTo>
                    <a:cubicBezTo>
                      <a:pt x="382" y="173"/>
                      <a:pt x="375" y="135"/>
                      <a:pt x="367" y="84"/>
                    </a:cubicBezTo>
                    <a:cubicBezTo>
                      <a:pt x="361" y="125"/>
                      <a:pt x="354" y="163"/>
                      <a:pt x="345" y="199"/>
                    </a:cubicBezTo>
                    <a:cubicBezTo>
                      <a:pt x="261" y="565"/>
                      <a:pt x="261" y="565"/>
                      <a:pt x="261" y="565"/>
                    </a:cubicBezTo>
                    <a:lnTo>
                      <a:pt x="160" y="56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/>
              </a:p>
            </p:txBody>
          </p:sp>
          <p:sp>
            <p:nvSpPr>
              <p:cNvPr id="59" name="Freeform 91"/>
              <p:cNvSpPr>
                <a:spLocks noEditPoints="1"/>
              </p:cNvSpPr>
              <p:nvPr/>
            </p:nvSpPr>
            <p:spPr bwMode="gray">
              <a:xfrm>
                <a:off x="3530" y="1911"/>
                <a:ext cx="24" cy="154"/>
              </a:xfrm>
              <a:custGeom>
                <a:avLst/>
                <a:gdLst>
                  <a:gd name="T0" fmla="*/ 59 w 118"/>
                  <a:gd name="T1" fmla="*/ 0 h 772"/>
                  <a:gd name="T2" fmla="*/ 103 w 118"/>
                  <a:gd name="T3" fmla="*/ 19 h 772"/>
                  <a:gd name="T4" fmla="*/ 118 w 118"/>
                  <a:gd name="T5" fmla="*/ 59 h 772"/>
                  <a:gd name="T6" fmla="*/ 99 w 118"/>
                  <a:gd name="T7" fmla="*/ 103 h 772"/>
                  <a:gd name="T8" fmla="*/ 59 w 118"/>
                  <a:gd name="T9" fmla="*/ 118 h 772"/>
                  <a:gd name="T10" fmla="*/ 15 w 118"/>
                  <a:gd name="T11" fmla="*/ 99 h 772"/>
                  <a:gd name="T12" fmla="*/ 0 w 118"/>
                  <a:gd name="T13" fmla="*/ 58 h 772"/>
                  <a:gd name="T14" fmla="*/ 20 w 118"/>
                  <a:gd name="T15" fmla="*/ 15 h 772"/>
                  <a:gd name="T16" fmla="*/ 59 w 118"/>
                  <a:gd name="T17" fmla="*/ 0 h 772"/>
                  <a:gd name="T18" fmla="*/ 12 w 118"/>
                  <a:gd name="T19" fmla="*/ 207 h 772"/>
                  <a:gd name="T20" fmla="*/ 109 w 118"/>
                  <a:gd name="T21" fmla="*/ 207 h 772"/>
                  <a:gd name="T22" fmla="*/ 109 w 118"/>
                  <a:gd name="T23" fmla="*/ 772 h 772"/>
                  <a:gd name="T24" fmla="*/ 12 w 118"/>
                  <a:gd name="T25" fmla="*/ 772 h 772"/>
                  <a:gd name="T26" fmla="*/ 12 w 118"/>
                  <a:gd name="T27" fmla="*/ 207 h 7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8" h="772">
                    <a:moveTo>
                      <a:pt x="59" y="0"/>
                    </a:moveTo>
                    <a:cubicBezTo>
                      <a:pt x="77" y="0"/>
                      <a:pt x="91" y="6"/>
                      <a:pt x="103" y="19"/>
                    </a:cubicBezTo>
                    <a:cubicBezTo>
                      <a:pt x="113" y="31"/>
                      <a:pt x="118" y="44"/>
                      <a:pt x="118" y="59"/>
                    </a:cubicBezTo>
                    <a:cubicBezTo>
                      <a:pt x="118" y="77"/>
                      <a:pt x="112" y="91"/>
                      <a:pt x="99" y="103"/>
                    </a:cubicBezTo>
                    <a:cubicBezTo>
                      <a:pt x="88" y="113"/>
                      <a:pt x="74" y="118"/>
                      <a:pt x="59" y="118"/>
                    </a:cubicBezTo>
                    <a:cubicBezTo>
                      <a:pt x="41" y="118"/>
                      <a:pt x="27" y="112"/>
                      <a:pt x="15" y="99"/>
                    </a:cubicBezTo>
                    <a:cubicBezTo>
                      <a:pt x="5" y="88"/>
                      <a:pt x="0" y="74"/>
                      <a:pt x="0" y="58"/>
                    </a:cubicBezTo>
                    <a:cubicBezTo>
                      <a:pt x="0" y="41"/>
                      <a:pt x="7" y="27"/>
                      <a:pt x="20" y="15"/>
                    </a:cubicBezTo>
                    <a:cubicBezTo>
                      <a:pt x="31" y="5"/>
                      <a:pt x="44" y="0"/>
                      <a:pt x="59" y="0"/>
                    </a:cubicBezTo>
                    <a:moveTo>
                      <a:pt x="12" y="207"/>
                    </a:moveTo>
                    <a:cubicBezTo>
                      <a:pt x="109" y="207"/>
                      <a:pt x="109" y="207"/>
                      <a:pt x="109" y="207"/>
                    </a:cubicBezTo>
                    <a:cubicBezTo>
                      <a:pt x="109" y="772"/>
                      <a:pt x="109" y="772"/>
                      <a:pt x="109" y="772"/>
                    </a:cubicBezTo>
                    <a:cubicBezTo>
                      <a:pt x="12" y="772"/>
                      <a:pt x="12" y="772"/>
                      <a:pt x="12" y="772"/>
                    </a:cubicBezTo>
                    <a:lnTo>
                      <a:pt x="12" y="20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/>
              </a:p>
            </p:txBody>
          </p:sp>
          <p:sp>
            <p:nvSpPr>
              <p:cNvPr id="60" name="Freeform 92"/>
              <p:cNvSpPr>
                <a:spLocks/>
              </p:cNvSpPr>
              <p:nvPr/>
            </p:nvSpPr>
            <p:spPr bwMode="gray">
              <a:xfrm>
                <a:off x="3587" y="1922"/>
                <a:ext cx="50" cy="143"/>
              </a:xfrm>
              <a:custGeom>
                <a:avLst/>
                <a:gdLst>
                  <a:gd name="T0" fmla="*/ 0 w 248"/>
                  <a:gd name="T1" fmla="*/ 0 h 718"/>
                  <a:gd name="T2" fmla="*/ 96 w 248"/>
                  <a:gd name="T3" fmla="*/ 0 h 718"/>
                  <a:gd name="T4" fmla="*/ 96 w 248"/>
                  <a:gd name="T5" fmla="*/ 153 h 718"/>
                  <a:gd name="T6" fmla="*/ 248 w 248"/>
                  <a:gd name="T7" fmla="*/ 153 h 718"/>
                  <a:gd name="T8" fmla="*/ 248 w 248"/>
                  <a:gd name="T9" fmla="*/ 215 h 718"/>
                  <a:gd name="T10" fmla="*/ 96 w 248"/>
                  <a:gd name="T11" fmla="*/ 215 h 718"/>
                  <a:gd name="T12" fmla="*/ 96 w 248"/>
                  <a:gd name="T13" fmla="*/ 515 h 718"/>
                  <a:gd name="T14" fmla="*/ 122 w 248"/>
                  <a:gd name="T15" fmla="*/ 630 h 718"/>
                  <a:gd name="T16" fmla="*/ 175 w 248"/>
                  <a:gd name="T17" fmla="*/ 655 h 718"/>
                  <a:gd name="T18" fmla="*/ 217 w 248"/>
                  <a:gd name="T19" fmla="*/ 657 h 718"/>
                  <a:gd name="T20" fmla="*/ 248 w 248"/>
                  <a:gd name="T21" fmla="*/ 657 h 718"/>
                  <a:gd name="T22" fmla="*/ 248 w 248"/>
                  <a:gd name="T23" fmla="*/ 718 h 718"/>
                  <a:gd name="T24" fmla="*/ 196 w 248"/>
                  <a:gd name="T25" fmla="*/ 718 h 718"/>
                  <a:gd name="T26" fmla="*/ 99 w 248"/>
                  <a:gd name="T27" fmla="*/ 709 h 718"/>
                  <a:gd name="T28" fmla="*/ 8 w 248"/>
                  <a:gd name="T29" fmla="*/ 613 h 718"/>
                  <a:gd name="T30" fmla="*/ 0 w 248"/>
                  <a:gd name="T31" fmla="*/ 501 h 718"/>
                  <a:gd name="T32" fmla="*/ 0 w 248"/>
                  <a:gd name="T33" fmla="*/ 0 h 7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8" h="718">
                    <a:moveTo>
                      <a:pt x="0" y="0"/>
                    </a:moveTo>
                    <a:cubicBezTo>
                      <a:pt x="96" y="0"/>
                      <a:pt x="96" y="0"/>
                      <a:pt x="96" y="0"/>
                    </a:cubicBezTo>
                    <a:cubicBezTo>
                      <a:pt x="96" y="153"/>
                      <a:pt x="96" y="153"/>
                      <a:pt x="96" y="153"/>
                    </a:cubicBezTo>
                    <a:cubicBezTo>
                      <a:pt x="248" y="153"/>
                      <a:pt x="248" y="153"/>
                      <a:pt x="248" y="153"/>
                    </a:cubicBezTo>
                    <a:cubicBezTo>
                      <a:pt x="248" y="215"/>
                      <a:pt x="248" y="215"/>
                      <a:pt x="248" y="215"/>
                    </a:cubicBezTo>
                    <a:cubicBezTo>
                      <a:pt x="96" y="215"/>
                      <a:pt x="96" y="215"/>
                      <a:pt x="96" y="215"/>
                    </a:cubicBezTo>
                    <a:cubicBezTo>
                      <a:pt x="96" y="515"/>
                      <a:pt x="96" y="515"/>
                      <a:pt x="96" y="515"/>
                    </a:cubicBezTo>
                    <a:cubicBezTo>
                      <a:pt x="96" y="572"/>
                      <a:pt x="105" y="610"/>
                      <a:pt x="122" y="630"/>
                    </a:cubicBezTo>
                    <a:cubicBezTo>
                      <a:pt x="134" y="644"/>
                      <a:pt x="151" y="652"/>
                      <a:pt x="175" y="655"/>
                    </a:cubicBezTo>
                    <a:cubicBezTo>
                      <a:pt x="183" y="656"/>
                      <a:pt x="197" y="657"/>
                      <a:pt x="217" y="657"/>
                    </a:cubicBezTo>
                    <a:cubicBezTo>
                      <a:pt x="248" y="657"/>
                      <a:pt x="248" y="657"/>
                      <a:pt x="248" y="657"/>
                    </a:cubicBezTo>
                    <a:cubicBezTo>
                      <a:pt x="248" y="718"/>
                      <a:pt x="248" y="718"/>
                      <a:pt x="248" y="718"/>
                    </a:cubicBezTo>
                    <a:cubicBezTo>
                      <a:pt x="196" y="718"/>
                      <a:pt x="196" y="718"/>
                      <a:pt x="196" y="718"/>
                    </a:cubicBezTo>
                    <a:cubicBezTo>
                      <a:pt x="155" y="718"/>
                      <a:pt x="122" y="715"/>
                      <a:pt x="99" y="709"/>
                    </a:cubicBezTo>
                    <a:cubicBezTo>
                      <a:pt x="49" y="695"/>
                      <a:pt x="19" y="663"/>
                      <a:pt x="8" y="613"/>
                    </a:cubicBezTo>
                    <a:cubicBezTo>
                      <a:pt x="3" y="586"/>
                      <a:pt x="0" y="549"/>
                      <a:pt x="0" y="501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/>
              </a:p>
            </p:txBody>
          </p:sp>
          <p:sp>
            <p:nvSpPr>
              <p:cNvPr id="61" name="Freeform 93"/>
              <p:cNvSpPr>
                <a:spLocks/>
              </p:cNvSpPr>
              <p:nvPr/>
            </p:nvSpPr>
            <p:spPr bwMode="gray">
              <a:xfrm>
                <a:off x="3660" y="1895"/>
                <a:ext cx="86" cy="170"/>
              </a:xfrm>
              <a:custGeom>
                <a:avLst/>
                <a:gdLst>
                  <a:gd name="T0" fmla="*/ 0 w 429"/>
                  <a:gd name="T1" fmla="*/ 851 h 851"/>
                  <a:gd name="T2" fmla="*/ 0 w 429"/>
                  <a:gd name="T3" fmla="*/ 0 h 851"/>
                  <a:gd name="T4" fmla="*/ 96 w 429"/>
                  <a:gd name="T5" fmla="*/ 0 h 851"/>
                  <a:gd name="T6" fmla="*/ 96 w 429"/>
                  <a:gd name="T7" fmla="*/ 300 h 851"/>
                  <a:gd name="T8" fmla="*/ 239 w 429"/>
                  <a:gd name="T9" fmla="*/ 270 h 851"/>
                  <a:gd name="T10" fmla="*/ 411 w 429"/>
                  <a:gd name="T11" fmla="*/ 359 h 851"/>
                  <a:gd name="T12" fmla="*/ 429 w 429"/>
                  <a:gd name="T13" fmla="*/ 504 h 851"/>
                  <a:gd name="T14" fmla="*/ 429 w 429"/>
                  <a:gd name="T15" fmla="*/ 851 h 851"/>
                  <a:gd name="T16" fmla="*/ 332 w 429"/>
                  <a:gd name="T17" fmla="*/ 851 h 851"/>
                  <a:gd name="T18" fmla="*/ 332 w 429"/>
                  <a:gd name="T19" fmla="*/ 489 h 851"/>
                  <a:gd name="T20" fmla="*/ 315 w 429"/>
                  <a:gd name="T21" fmla="*/ 374 h 851"/>
                  <a:gd name="T22" fmla="*/ 230 w 429"/>
                  <a:gd name="T23" fmla="*/ 329 h 851"/>
                  <a:gd name="T24" fmla="*/ 96 w 429"/>
                  <a:gd name="T25" fmla="*/ 363 h 851"/>
                  <a:gd name="T26" fmla="*/ 96 w 429"/>
                  <a:gd name="T27" fmla="*/ 851 h 851"/>
                  <a:gd name="T28" fmla="*/ 0 w 429"/>
                  <a:gd name="T29" fmla="*/ 851 h 8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29" h="851">
                    <a:moveTo>
                      <a:pt x="0" y="851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96" y="0"/>
                      <a:pt x="96" y="0"/>
                      <a:pt x="96" y="0"/>
                    </a:cubicBezTo>
                    <a:cubicBezTo>
                      <a:pt x="96" y="300"/>
                      <a:pt x="96" y="300"/>
                      <a:pt x="96" y="300"/>
                    </a:cubicBezTo>
                    <a:cubicBezTo>
                      <a:pt x="147" y="280"/>
                      <a:pt x="194" y="270"/>
                      <a:pt x="239" y="270"/>
                    </a:cubicBezTo>
                    <a:cubicBezTo>
                      <a:pt x="328" y="270"/>
                      <a:pt x="386" y="300"/>
                      <a:pt x="411" y="359"/>
                    </a:cubicBezTo>
                    <a:cubicBezTo>
                      <a:pt x="423" y="386"/>
                      <a:pt x="429" y="434"/>
                      <a:pt x="429" y="504"/>
                    </a:cubicBezTo>
                    <a:cubicBezTo>
                      <a:pt x="429" y="851"/>
                      <a:pt x="429" y="851"/>
                      <a:pt x="429" y="851"/>
                    </a:cubicBezTo>
                    <a:cubicBezTo>
                      <a:pt x="332" y="851"/>
                      <a:pt x="332" y="851"/>
                      <a:pt x="332" y="851"/>
                    </a:cubicBezTo>
                    <a:cubicBezTo>
                      <a:pt x="332" y="489"/>
                      <a:pt x="332" y="489"/>
                      <a:pt x="332" y="489"/>
                    </a:cubicBezTo>
                    <a:cubicBezTo>
                      <a:pt x="332" y="435"/>
                      <a:pt x="326" y="397"/>
                      <a:pt x="315" y="374"/>
                    </a:cubicBezTo>
                    <a:cubicBezTo>
                      <a:pt x="300" y="344"/>
                      <a:pt x="271" y="329"/>
                      <a:pt x="230" y="329"/>
                    </a:cubicBezTo>
                    <a:cubicBezTo>
                      <a:pt x="192" y="329"/>
                      <a:pt x="147" y="340"/>
                      <a:pt x="96" y="363"/>
                    </a:cubicBezTo>
                    <a:cubicBezTo>
                      <a:pt x="96" y="851"/>
                      <a:pt x="96" y="851"/>
                      <a:pt x="96" y="851"/>
                    </a:cubicBezTo>
                    <a:lnTo>
                      <a:pt x="0" y="85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/>
              </a:p>
            </p:txBody>
          </p:sp>
          <p:sp>
            <p:nvSpPr>
              <p:cNvPr id="62" name="Freeform 94"/>
              <p:cNvSpPr>
                <a:spLocks/>
              </p:cNvSpPr>
              <p:nvPr/>
            </p:nvSpPr>
            <p:spPr bwMode="gray">
              <a:xfrm>
                <a:off x="3818" y="1952"/>
                <a:ext cx="95" cy="168"/>
              </a:xfrm>
              <a:custGeom>
                <a:avLst/>
                <a:gdLst>
                  <a:gd name="T0" fmla="*/ 42 w 95"/>
                  <a:gd name="T1" fmla="*/ 115 h 168"/>
                  <a:gd name="T2" fmla="*/ 0 w 95"/>
                  <a:gd name="T3" fmla="*/ 0 h 168"/>
                  <a:gd name="T4" fmla="*/ 20 w 95"/>
                  <a:gd name="T5" fmla="*/ 0 h 168"/>
                  <a:gd name="T6" fmla="*/ 50 w 95"/>
                  <a:gd name="T7" fmla="*/ 91 h 168"/>
                  <a:gd name="T8" fmla="*/ 78 w 95"/>
                  <a:gd name="T9" fmla="*/ 0 h 168"/>
                  <a:gd name="T10" fmla="*/ 95 w 95"/>
                  <a:gd name="T11" fmla="*/ 0 h 168"/>
                  <a:gd name="T12" fmla="*/ 38 w 95"/>
                  <a:gd name="T13" fmla="*/ 168 h 168"/>
                  <a:gd name="T14" fmla="*/ 21 w 95"/>
                  <a:gd name="T15" fmla="*/ 168 h 168"/>
                  <a:gd name="T16" fmla="*/ 42 w 95"/>
                  <a:gd name="T17" fmla="*/ 115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5" h="168">
                    <a:moveTo>
                      <a:pt x="42" y="115"/>
                    </a:moveTo>
                    <a:lnTo>
                      <a:pt x="0" y="0"/>
                    </a:lnTo>
                    <a:lnTo>
                      <a:pt x="20" y="0"/>
                    </a:lnTo>
                    <a:lnTo>
                      <a:pt x="50" y="91"/>
                    </a:lnTo>
                    <a:lnTo>
                      <a:pt x="78" y="0"/>
                    </a:lnTo>
                    <a:lnTo>
                      <a:pt x="95" y="0"/>
                    </a:lnTo>
                    <a:lnTo>
                      <a:pt x="38" y="168"/>
                    </a:lnTo>
                    <a:lnTo>
                      <a:pt x="21" y="168"/>
                    </a:lnTo>
                    <a:lnTo>
                      <a:pt x="42" y="11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/>
              </a:p>
            </p:txBody>
          </p:sp>
          <p:sp>
            <p:nvSpPr>
              <p:cNvPr id="63" name="Freeform 95"/>
              <p:cNvSpPr>
                <a:spLocks noEditPoints="1"/>
              </p:cNvSpPr>
              <p:nvPr/>
            </p:nvSpPr>
            <p:spPr bwMode="gray">
              <a:xfrm>
                <a:off x="3925" y="1949"/>
                <a:ext cx="95" cy="120"/>
              </a:xfrm>
              <a:custGeom>
                <a:avLst/>
                <a:gdLst>
                  <a:gd name="T0" fmla="*/ 238 w 475"/>
                  <a:gd name="T1" fmla="*/ 0 h 597"/>
                  <a:gd name="T2" fmla="*/ 418 w 475"/>
                  <a:gd name="T3" fmla="*/ 81 h 597"/>
                  <a:gd name="T4" fmla="*/ 475 w 475"/>
                  <a:gd name="T5" fmla="*/ 299 h 597"/>
                  <a:gd name="T6" fmla="*/ 418 w 475"/>
                  <a:gd name="T7" fmla="*/ 516 h 597"/>
                  <a:gd name="T8" fmla="*/ 238 w 475"/>
                  <a:gd name="T9" fmla="*/ 597 h 597"/>
                  <a:gd name="T10" fmla="*/ 0 w 475"/>
                  <a:gd name="T11" fmla="*/ 295 h 597"/>
                  <a:gd name="T12" fmla="*/ 57 w 475"/>
                  <a:gd name="T13" fmla="*/ 81 h 597"/>
                  <a:gd name="T14" fmla="*/ 238 w 475"/>
                  <a:gd name="T15" fmla="*/ 0 h 597"/>
                  <a:gd name="T16" fmla="*/ 238 w 475"/>
                  <a:gd name="T17" fmla="*/ 59 h 597"/>
                  <a:gd name="T18" fmla="*/ 124 w 475"/>
                  <a:gd name="T19" fmla="*/ 132 h 597"/>
                  <a:gd name="T20" fmla="*/ 98 w 475"/>
                  <a:gd name="T21" fmla="*/ 296 h 597"/>
                  <a:gd name="T22" fmla="*/ 124 w 475"/>
                  <a:gd name="T23" fmla="*/ 465 h 597"/>
                  <a:gd name="T24" fmla="*/ 238 w 475"/>
                  <a:gd name="T25" fmla="*/ 539 h 597"/>
                  <a:gd name="T26" fmla="*/ 351 w 475"/>
                  <a:gd name="T27" fmla="*/ 465 h 597"/>
                  <a:gd name="T28" fmla="*/ 376 w 475"/>
                  <a:gd name="T29" fmla="*/ 299 h 597"/>
                  <a:gd name="T30" fmla="*/ 351 w 475"/>
                  <a:gd name="T31" fmla="*/ 132 h 597"/>
                  <a:gd name="T32" fmla="*/ 238 w 475"/>
                  <a:gd name="T33" fmla="*/ 59 h 5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75" h="597">
                    <a:moveTo>
                      <a:pt x="238" y="0"/>
                    </a:moveTo>
                    <a:cubicBezTo>
                      <a:pt x="319" y="0"/>
                      <a:pt x="379" y="27"/>
                      <a:pt x="418" y="81"/>
                    </a:cubicBezTo>
                    <a:cubicBezTo>
                      <a:pt x="456" y="133"/>
                      <a:pt x="475" y="205"/>
                      <a:pt x="475" y="299"/>
                    </a:cubicBezTo>
                    <a:cubicBezTo>
                      <a:pt x="475" y="391"/>
                      <a:pt x="456" y="464"/>
                      <a:pt x="418" y="516"/>
                    </a:cubicBezTo>
                    <a:cubicBezTo>
                      <a:pt x="380" y="570"/>
                      <a:pt x="320" y="597"/>
                      <a:pt x="238" y="597"/>
                    </a:cubicBezTo>
                    <a:cubicBezTo>
                      <a:pt x="79" y="597"/>
                      <a:pt x="0" y="496"/>
                      <a:pt x="0" y="295"/>
                    </a:cubicBezTo>
                    <a:cubicBezTo>
                      <a:pt x="0" y="204"/>
                      <a:pt x="19" y="133"/>
                      <a:pt x="57" y="81"/>
                    </a:cubicBezTo>
                    <a:cubicBezTo>
                      <a:pt x="96" y="27"/>
                      <a:pt x="157" y="0"/>
                      <a:pt x="238" y="0"/>
                    </a:cubicBezTo>
                    <a:moveTo>
                      <a:pt x="238" y="59"/>
                    </a:moveTo>
                    <a:cubicBezTo>
                      <a:pt x="183" y="59"/>
                      <a:pt x="145" y="83"/>
                      <a:pt x="124" y="132"/>
                    </a:cubicBezTo>
                    <a:cubicBezTo>
                      <a:pt x="107" y="173"/>
                      <a:pt x="98" y="227"/>
                      <a:pt x="98" y="296"/>
                    </a:cubicBezTo>
                    <a:cubicBezTo>
                      <a:pt x="98" y="368"/>
                      <a:pt x="107" y="424"/>
                      <a:pt x="124" y="465"/>
                    </a:cubicBezTo>
                    <a:cubicBezTo>
                      <a:pt x="145" y="514"/>
                      <a:pt x="183" y="539"/>
                      <a:pt x="238" y="539"/>
                    </a:cubicBezTo>
                    <a:cubicBezTo>
                      <a:pt x="292" y="539"/>
                      <a:pt x="330" y="514"/>
                      <a:pt x="351" y="465"/>
                    </a:cubicBezTo>
                    <a:cubicBezTo>
                      <a:pt x="368" y="424"/>
                      <a:pt x="376" y="369"/>
                      <a:pt x="376" y="299"/>
                    </a:cubicBezTo>
                    <a:cubicBezTo>
                      <a:pt x="376" y="227"/>
                      <a:pt x="368" y="172"/>
                      <a:pt x="351" y="132"/>
                    </a:cubicBezTo>
                    <a:cubicBezTo>
                      <a:pt x="329" y="83"/>
                      <a:pt x="292" y="59"/>
                      <a:pt x="238" y="59"/>
                    </a:cubicBezTo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/>
              </a:p>
            </p:txBody>
          </p:sp>
          <p:sp>
            <p:nvSpPr>
              <p:cNvPr id="64" name="Freeform 96"/>
              <p:cNvSpPr>
                <a:spLocks/>
              </p:cNvSpPr>
              <p:nvPr/>
            </p:nvSpPr>
            <p:spPr bwMode="gray">
              <a:xfrm>
                <a:off x="4046" y="1952"/>
                <a:ext cx="83" cy="117"/>
              </a:xfrm>
              <a:custGeom>
                <a:avLst/>
                <a:gdLst>
                  <a:gd name="T0" fmla="*/ 0 w 412"/>
                  <a:gd name="T1" fmla="*/ 0 h 581"/>
                  <a:gd name="T2" fmla="*/ 96 w 412"/>
                  <a:gd name="T3" fmla="*/ 0 h 581"/>
                  <a:gd name="T4" fmla="*/ 96 w 412"/>
                  <a:gd name="T5" fmla="*/ 349 h 581"/>
                  <a:gd name="T6" fmla="*/ 114 w 412"/>
                  <a:gd name="T7" fmla="*/ 477 h 581"/>
                  <a:gd name="T8" fmla="*/ 154 w 412"/>
                  <a:gd name="T9" fmla="*/ 514 h 581"/>
                  <a:gd name="T10" fmla="*/ 216 w 412"/>
                  <a:gd name="T11" fmla="*/ 523 h 581"/>
                  <a:gd name="T12" fmla="*/ 316 w 412"/>
                  <a:gd name="T13" fmla="*/ 508 h 581"/>
                  <a:gd name="T14" fmla="*/ 316 w 412"/>
                  <a:gd name="T15" fmla="*/ 0 h 581"/>
                  <a:gd name="T16" fmla="*/ 412 w 412"/>
                  <a:gd name="T17" fmla="*/ 0 h 581"/>
                  <a:gd name="T18" fmla="*/ 412 w 412"/>
                  <a:gd name="T19" fmla="*/ 556 h 581"/>
                  <a:gd name="T20" fmla="*/ 210 w 412"/>
                  <a:gd name="T21" fmla="*/ 581 h 581"/>
                  <a:gd name="T22" fmla="*/ 67 w 412"/>
                  <a:gd name="T23" fmla="*/ 551 h 581"/>
                  <a:gd name="T24" fmla="*/ 4 w 412"/>
                  <a:gd name="T25" fmla="*/ 445 h 581"/>
                  <a:gd name="T26" fmla="*/ 0 w 412"/>
                  <a:gd name="T27" fmla="*/ 356 h 581"/>
                  <a:gd name="T28" fmla="*/ 0 w 412"/>
                  <a:gd name="T29" fmla="*/ 0 h 5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12" h="581">
                    <a:moveTo>
                      <a:pt x="0" y="0"/>
                    </a:moveTo>
                    <a:cubicBezTo>
                      <a:pt x="96" y="0"/>
                      <a:pt x="96" y="0"/>
                      <a:pt x="96" y="0"/>
                    </a:cubicBezTo>
                    <a:cubicBezTo>
                      <a:pt x="96" y="349"/>
                      <a:pt x="96" y="349"/>
                      <a:pt x="96" y="349"/>
                    </a:cubicBezTo>
                    <a:cubicBezTo>
                      <a:pt x="96" y="413"/>
                      <a:pt x="102" y="456"/>
                      <a:pt x="114" y="477"/>
                    </a:cubicBezTo>
                    <a:cubicBezTo>
                      <a:pt x="123" y="495"/>
                      <a:pt x="136" y="507"/>
                      <a:pt x="154" y="514"/>
                    </a:cubicBezTo>
                    <a:cubicBezTo>
                      <a:pt x="168" y="520"/>
                      <a:pt x="189" y="523"/>
                      <a:pt x="216" y="523"/>
                    </a:cubicBezTo>
                    <a:cubicBezTo>
                      <a:pt x="248" y="523"/>
                      <a:pt x="281" y="518"/>
                      <a:pt x="316" y="508"/>
                    </a:cubicBezTo>
                    <a:cubicBezTo>
                      <a:pt x="316" y="0"/>
                      <a:pt x="316" y="0"/>
                      <a:pt x="316" y="0"/>
                    </a:cubicBezTo>
                    <a:cubicBezTo>
                      <a:pt x="412" y="0"/>
                      <a:pt x="412" y="0"/>
                      <a:pt x="412" y="0"/>
                    </a:cubicBezTo>
                    <a:cubicBezTo>
                      <a:pt x="412" y="556"/>
                      <a:pt x="412" y="556"/>
                      <a:pt x="412" y="556"/>
                    </a:cubicBezTo>
                    <a:cubicBezTo>
                      <a:pt x="341" y="573"/>
                      <a:pt x="273" y="581"/>
                      <a:pt x="210" y="581"/>
                    </a:cubicBezTo>
                    <a:cubicBezTo>
                      <a:pt x="146" y="581"/>
                      <a:pt x="98" y="571"/>
                      <a:pt x="67" y="551"/>
                    </a:cubicBezTo>
                    <a:cubicBezTo>
                      <a:pt x="32" y="528"/>
                      <a:pt x="11" y="493"/>
                      <a:pt x="4" y="445"/>
                    </a:cubicBezTo>
                    <a:cubicBezTo>
                      <a:pt x="1" y="422"/>
                      <a:pt x="0" y="393"/>
                      <a:pt x="0" y="356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/>
              </a:p>
            </p:txBody>
          </p:sp>
          <p:sp>
            <p:nvSpPr>
              <p:cNvPr id="65" name="Freeform 97"/>
              <p:cNvSpPr>
                <a:spLocks/>
              </p:cNvSpPr>
              <p:nvPr/>
            </p:nvSpPr>
            <p:spPr bwMode="gray">
              <a:xfrm>
                <a:off x="2581" y="858"/>
                <a:ext cx="372" cy="287"/>
              </a:xfrm>
              <a:custGeom>
                <a:avLst/>
                <a:gdLst>
                  <a:gd name="T0" fmla="*/ 755 w 1858"/>
                  <a:gd name="T1" fmla="*/ 601 h 1434"/>
                  <a:gd name="T2" fmla="*/ 470 w 1858"/>
                  <a:gd name="T3" fmla="*/ 505 h 1434"/>
                  <a:gd name="T4" fmla="*/ 1 w 1858"/>
                  <a:gd name="T5" fmla="*/ 970 h 1434"/>
                  <a:gd name="T6" fmla="*/ 470 w 1858"/>
                  <a:gd name="T7" fmla="*/ 1433 h 1434"/>
                  <a:gd name="T8" fmla="*/ 827 w 1858"/>
                  <a:gd name="T9" fmla="*/ 1272 h 1434"/>
                  <a:gd name="T10" fmla="*/ 827 w 1858"/>
                  <a:gd name="T11" fmla="*/ 1015 h 1434"/>
                  <a:gd name="T12" fmla="*/ 605 w 1858"/>
                  <a:gd name="T13" fmla="*/ 1232 h 1434"/>
                  <a:gd name="T14" fmla="*/ 470 w 1858"/>
                  <a:gd name="T15" fmla="*/ 1260 h 1434"/>
                  <a:gd name="T16" fmla="*/ 176 w 1858"/>
                  <a:gd name="T17" fmla="*/ 970 h 1434"/>
                  <a:gd name="T18" fmla="*/ 470 w 1858"/>
                  <a:gd name="T19" fmla="*/ 678 h 1434"/>
                  <a:gd name="T20" fmla="*/ 676 w 1858"/>
                  <a:gd name="T21" fmla="*/ 763 h 1434"/>
                  <a:gd name="T22" fmla="*/ 859 w 1858"/>
                  <a:gd name="T23" fmla="*/ 973 h 1434"/>
                  <a:gd name="T24" fmla="*/ 1281 w 1858"/>
                  <a:gd name="T25" fmla="*/ 1157 h 1434"/>
                  <a:gd name="T26" fmla="*/ 1858 w 1858"/>
                  <a:gd name="T27" fmla="*/ 582 h 1434"/>
                  <a:gd name="T28" fmla="*/ 1281 w 1858"/>
                  <a:gd name="T29" fmla="*/ 0 h 1434"/>
                  <a:gd name="T30" fmla="*/ 827 w 1858"/>
                  <a:gd name="T31" fmla="*/ 231 h 1434"/>
                  <a:gd name="T32" fmla="*/ 827 w 1858"/>
                  <a:gd name="T33" fmla="*/ 577 h 1434"/>
                  <a:gd name="T34" fmla="*/ 1281 w 1858"/>
                  <a:gd name="T35" fmla="*/ 182 h 1434"/>
                  <a:gd name="T36" fmla="*/ 1677 w 1858"/>
                  <a:gd name="T37" fmla="*/ 582 h 1434"/>
                  <a:gd name="T38" fmla="*/ 1281 w 1858"/>
                  <a:gd name="T39" fmla="*/ 978 h 1434"/>
                  <a:gd name="T40" fmla="*/ 1024 w 1858"/>
                  <a:gd name="T41" fmla="*/ 884 h 1434"/>
                  <a:gd name="T42" fmla="*/ 755 w 1858"/>
                  <a:gd name="T43" fmla="*/ 601 h 1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58" h="1434">
                    <a:moveTo>
                      <a:pt x="755" y="601"/>
                    </a:moveTo>
                    <a:cubicBezTo>
                      <a:pt x="687" y="541"/>
                      <a:pt x="578" y="505"/>
                      <a:pt x="470" y="505"/>
                    </a:cubicBezTo>
                    <a:cubicBezTo>
                      <a:pt x="212" y="504"/>
                      <a:pt x="2" y="707"/>
                      <a:pt x="1" y="970"/>
                    </a:cubicBezTo>
                    <a:cubicBezTo>
                      <a:pt x="0" y="1228"/>
                      <a:pt x="212" y="1433"/>
                      <a:pt x="470" y="1433"/>
                    </a:cubicBezTo>
                    <a:cubicBezTo>
                      <a:pt x="615" y="1434"/>
                      <a:pt x="741" y="1375"/>
                      <a:pt x="827" y="1272"/>
                    </a:cubicBezTo>
                    <a:cubicBezTo>
                      <a:pt x="827" y="1015"/>
                      <a:pt x="827" y="1015"/>
                      <a:pt x="827" y="1015"/>
                    </a:cubicBezTo>
                    <a:cubicBezTo>
                      <a:pt x="781" y="1095"/>
                      <a:pt x="689" y="1197"/>
                      <a:pt x="605" y="1232"/>
                    </a:cubicBezTo>
                    <a:cubicBezTo>
                      <a:pt x="563" y="1249"/>
                      <a:pt x="520" y="1260"/>
                      <a:pt x="470" y="1260"/>
                    </a:cubicBezTo>
                    <a:cubicBezTo>
                      <a:pt x="309" y="1260"/>
                      <a:pt x="176" y="1135"/>
                      <a:pt x="176" y="970"/>
                    </a:cubicBezTo>
                    <a:cubicBezTo>
                      <a:pt x="176" y="818"/>
                      <a:pt x="299" y="677"/>
                      <a:pt x="470" y="678"/>
                    </a:cubicBezTo>
                    <a:cubicBezTo>
                      <a:pt x="551" y="678"/>
                      <a:pt x="623" y="711"/>
                      <a:pt x="676" y="763"/>
                    </a:cubicBezTo>
                    <a:cubicBezTo>
                      <a:pt x="732" y="817"/>
                      <a:pt x="818" y="929"/>
                      <a:pt x="859" y="973"/>
                    </a:cubicBezTo>
                    <a:cubicBezTo>
                      <a:pt x="964" y="1086"/>
                      <a:pt x="1115" y="1157"/>
                      <a:pt x="1281" y="1157"/>
                    </a:cubicBezTo>
                    <a:cubicBezTo>
                      <a:pt x="1599" y="1158"/>
                      <a:pt x="1858" y="900"/>
                      <a:pt x="1858" y="582"/>
                    </a:cubicBezTo>
                    <a:cubicBezTo>
                      <a:pt x="1858" y="264"/>
                      <a:pt x="1599" y="0"/>
                      <a:pt x="1281" y="0"/>
                    </a:cubicBezTo>
                    <a:cubicBezTo>
                      <a:pt x="1096" y="0"/>
                      <a:pt x="933" y="96"/>
                      <a:pt x="827" y="231"/>
                    </a:cubicBezTo>
                    <a:cubicBezTo>
                      <a:pt x="827" y="577"/>
                      <a:pt x="827" y="577"/>
                      <a:pt x="827" y="577"/>
                    </a:cubicBezTo>
                    <a:cubicBezTo>
                      <a:pt x="908" y="358"/>
                      <a:pt x="1053" y="182"/>
                      <a:pt x="1281" y="182"/>
                    </a:cubicBezTo>
                    <a:cubicBezTo>
                      <a:pt x="1500" y="182"/>
                      <a:pt x="1677" y="363"/>
                      <a:pt x="1677" y="582"/>
                    </a:cubicBezTo>
                    <a:cubicBezTo>
                      <a:pt x="1676" y="801"/>
                      <a:pt x="1500" y="979"/>
                      <a:pt x="1281" y="978"/>
                    </a:cubicBezTo>
                    <a:cubicBezTo>
                      <a:pt x="1183" y="978"/>
                      <a:pt x="1093" y="942"/>
                      <a:pt x="1024" y="884"/>
                    </a:cubicBezTo>
                    <a:cubicBezTo>
                      <a:pt x="938" y="817"/>
                      <a:pt x="843" y="675"/>
                      <a:pt x="755" y="601"/>
                    </a:cubicBezTo>
                  </a:path>
                </a:pathLst>
              </a:custGeom>
              <a:solidFill>
                <a:srgbClr val="FF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/>
              </a:p>
            </p:txBody>
          </p:sp>
          <p:sp>
            <p:nvSpPr>
              <p:cNvPr id="66" name="Freeform 98"/>
              <p:cNvSpPr>
                <a:spLocks/>
              </p:cNvSpPr>
              <p:nvPr/>
            </p:nvSpPr>
            <p:spPr bwMode="gray">
              <a:xfrm>
                <a:off x="1974" y="1170"/>
                <a:ext cx="256" cy="417"/>
              </a:xfrm>
              <a:custGeom>
                <a:avLst/>
                <a:gdLst>
                  <a:gd name="T0" fmla="*/ 0 w 1276"/>
                  <a:gd name="T1" fmla="*/ 0 h 2083"/>
                  <a:gd name="T2" fmla="*/ 1276 w 1276"/>
                  <a:gd name="T3" fmla="*/ 0 h 2083"/>
                  <a:gd name="T4" fmla="*/ 1276 w 1276"/>
                  <a:gd name="T5" fmla="*/ 355 h 2083"/>
                  <a:gd name="T6" fmla="*/ 1072 w 1276"/>
                  <a:gd name="T7" fmla="*/ 215 h 2083"/>
                  <a:gd name="T8" fmla="*/ 482 w 1276"/>
                  <a:gd name="T9" fmla="*/ 215 h 2083"/>
                  <a:gd name="T10" fmla="*/ 482 w 1276"/>
                  <a:gd name="T11" fmla="*/ 828 h 2083"/>
                  <a:gd name="T12" fmla="*/ 1122 w 1276"/>
                  <a:gd name="T13" fmla="*/ 828 h 2083"/>
                  <a:gd name="T14" fmla="*/ 1122 w 1276"/>
                  <a:gd name="T15" fmla="*/ 1153 h 2083"/>
                  <a:gd name="T16" fmla="*/ 947 w 1276"/>
                  <a:gd name="T17" fmla="*/ 1049 h 2083"/>
                  <a:gd name="T18" fmla="*/ 482 w 1276"/>
                  <a:gd name="T19" fmla="*/ 1049 h 2083"/>
                  <a:gd name="T20" fmla="*/ 482 w 1276"/>
                  <a:gd name="T21" fmla="*/ 1886 h 2083"/>
                  <a:gd name="T22" fmla="*/ 616 w 1276"/>
                  <a:gd name="T23" fmla="*/ 2083 h 2083"/>
                  <a:gd name="T24" fmla="*/ 9 w 1276"/>
                  <a:gd name="T25" fmla="*/ 2083 h 2083"/>
                  <a:gd name="T26" fmla="*/ 136 w 1276"/>
                  <a:gd name="T27" fmla="*/ 1886 h 2083"/>
                  <a:gd name="T28" fmla="*/ 136 w 1276"/>
                  <a:gd name="T29" fmla="*/ 219 h 2083"/>
                  <a:gd name="T30" fmla="*/ 0 w 1276"/>
                  <a:gd name="T31" fmla="*/ 0 h 20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276" h="2083">
                    <a:moveTo>
                      <a:pt x="0" y="0"/>
                    </a:moveTo>
                    <a:cubicBezTo>
                      <a:pt x="1276" y="0"/>
                      <a:pt x="1276" y="0"/>
                      <a:pt x="1276" y="0"/>
                    </a:cubicBezTo>
                    <a:cubicBezTo>
                      <a:pt x="1276" y="355"/>
                      <a:pt x="1276" y="355"/>
                      <a:pt x="1276" y="355"/>
                    </a:cubicBezTo>
                    <a:cubicBezTo>
                      <a:pt x="1276" y="355"/>
                      <a:pt x="1210" y="215"/>
                      <a:pt x="1072" y="215"/>
                    </a:cubicBezTo>
                    <a:cubicBezTo>
                      <a:pt x="482" y="215"/>
                      <a:pt x="482" y="215"/>
                      <a:pt x="482" y="215"/>
                    </a:cubicBezTo>
                    <a:cubicBezTo>
                      <a:pt x="482" y="828"/>
                      <a:pt x="482" y="828"/>
                      <a:pt x="482" y="828"/>
                    </a:cubicBezTo>
                    <a:cubicBezTo>
                      <a:pt x="1122" y="828"/>
                      <a:pt x="1122" y="828"/>
                      <a:pt x="1122" y="828"/>
                    </a:cubicBezTo>
                    <a:cubicBezTo>
                      <a:pt x="1122" y="1153"/>
                      <a:pt x="1122" y="1153"/>
                      <a:pt x="1122" y="1153"/>
                    </a:cubicBezTo>
                    <a:cubicBezTo>
                      <a:pt x="1122" y="1153"/>
                      <a:pt x="1101" y="1049"/>
                      <a:pt x="947" y="1049"/>
                    </a:cubicBezTo>
                    <a:cubicBezTo>
                      <a:pt x="482" y="1049"/>
                      <a:pt x="482" y="1049"/>
                      <a:pt x="482" y="1049"/>
                    </a:cubicBezTo>
                    <a:cubicBezTo>
                      <a:pt x="482" y="1886"/>
                      <a:pt x="482" y="1886"/>
                      <a:pt x="482" y="1886"/>
                    </a:cubicBezTo>
                    <a:cubicBezTo>
                      <a:pt x="482" y="2010"/>
                      <a:pt x="616" y="2083"/>
                      <a:pt x="616" y="2083"/>
                    </a:cubicBezTo>
                    <a:cubicBezTo>
                      <a:pt x="9" y="2083"/>
                      <a:pt x="9" y="2083"/>
                      <a:pt x="9" y="2083"/>
                    </a:cubicBezTo>
                    <a:cubicBezTo>
                      <a:pt x="9" y="2083"/>
                      <a:pt x="136" y="2019"/>
                      <a:pt x="136" y="1886"/>
                    </a:cubicBezTo>
                    <a:cubicBezTo>
                      <a:pt x="136" y="219"/>
                      <a:pt x="136" y="219"/>
                      <a:pt x="136" y="219"/>
                    </a:cubicBezTo>
                    <a:cubicBezTo>
                      <a:pt x="136" y="79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FF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/>
              </a:p>
            </p:txBody>
          </p:sp>
          <p:sp>
            <p:nvSpPr>
              <p:cNvPr id="67" name="Freeform 99"/>
              <p:cNvSpPr>
                <a:spLocks/>
              </p:cNvSpPr>
              <p:nvPr/>
            </p:nvSpPr>
            <p:spPr bwMode="gray">
              <a:xfrm>
                <a:off x="2577" y="1171"/>
                <a:ext cx="169" cy="581"/>
              </a:xfrm>
              <a:custGeom>
                <a:avLst/>
                <a:gdLst>
                  <a:gd name="T0" fmla="*/ 193 w 842"/>
                  <a:gd name="T1" fmla="*/ 0 h 2904"/>
                  <a:gd name="T2" fmla="*/ 842 w 842"/>
                  <a:gd name="T3" fmla="*/ 0 h 2904"/>
                  <a:gd name="T4" fmla="*/ 697 w 842"/>
                  <a:gd name="T5" fmla="*/ 181 h 2904"/>
                  <a:gd name="T6" fmla="*/ 697 w 842"/>
                  <a:gd name="T7" fmla="*/ 2135 h 2904"/>
                  <a:gd name="T8" fmla="*/ 0 w 842"/>
                  <a:gd name="T9" fmla="*/ 2902 h 2904"/>
                  <a:gd name="T10" fmla="*/ 332 w 842"/>
                  <a:gd name="T11" fmla="*/ 2135 h 2904"/>
                  <a:gd name="T12" fmla="*/ 332 w 842"/>
                  <a:gd name="T13" fmla="*/ 181 h 2904"/>
                  <a:gd name="T14" fmla="*/ 193 w 842"/>
                  <a:gd name="T15" fmla="*/ 0 h 29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42" h="2904">
                    <a:moveTo>
                      <a:pt x="193" y="0"/>
                    </a:moveTo>
                    <a:cubicBezTo>
                      <a:pt x="842" y="0"/>
                      <a:pt x="842" y="0"/>
                      <a:pt x="842" y="0"/>
                    </a:cubicBezTo>
                    <a:cubicBezTo>
                      <a:pt x="842" y="0"/>
                      <a:pt x="697" y="69"/>
                      <a:pt x="697" y="181"/>
                    </a:cubicBezTo>
                    <a:cubicBezTo>
                      <a:pt x="697" y="2135"/>
                      <a:pt x="697" y="2135"/>
                      <a:pt x="697" y="2135"/>
                    </a:cubicBezTo>
                    <a:cubicBezTo>
                      <a:pt x="697" y="2796"/>
                      <a:pt x="34" y="2904"/>
                      <a:pt x="0" y="2902"/>
                    </a:cubicBezTo>
                    <a:cubicBezTo>
                      <a:pt x="56" y="2866"/>
                      <a:pt x="331" y="2631"/>
                      <a:pt x="332" y="2135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33" y="76"/>
                      <a:pt x="193" y="0"/>
                      <a:pt x="193" y="0"/>
                    </a:cubicBezTo>
                    <a:close/>
                  </a:path>
                </a:pathLst>
              </a:custGeom>
              <a:solidFill>
                <a:srgbClr val="FF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/>
              </a:p>
            </p:txBody>
          </p:sp>
          <p:sp>
            <p:nvSpPr>
              <p:cNvPr id="68" name="Freeform 100"/>
              <p:cNvSpPr>
                <a:spLocks/>
              </p:cNvSpPr>
              <p:nvPr/>
            </p:nvSpPr>
            <p:spPr bwMode="gray">
              <a:xfrm>
                <a:off x="2764" y="1171"/>
                <a:ext cx="130" cy="417"/>
              </a:xfrm>
              <a:custGeom>
                <a:avLst/>
                <a:gdLst>
                  <a:gd name="T0" fmla="*/ 0 w 651"/>
                  <a:gd name="T1" fmla="*/ 0 h 2084"/>
                  <a:gd name="T2" fmla="*/ 651 w 651"/>
                  <a:gd name="T3" fmla="*/ 0 h 2084"/>
                  <a:gd name="T4" fmla="*/ 507 w 651"/>
                  <a:gd name="T5" fmla="*/ 184 h 2084"/>
                  <a:gd name="T6" fmla="*/ 507 w 651"/>
                  <a:gd name="T7" fmla="*/ 1886 h 2084"/>
                  <a:gd name="T8" fmla="*/ 651 w 651"/>
                  <a:gd name="T9" fmla="*/ 2084 h 2084"/>
                  <a:gd name="T10" fmla="*/ 0 w 651"/>
                  <a:gd name="T11" fmla="*/ 2084 h 2084"/>
                  <a:gd name="T12" fmla="*/ 145 w 651"/>
                  <a:gd name="T13" fmla="*/ 1886 h 2084"/>
                  <a:gd name="T14" fmla="*/ 145 w 651"/>
                  <a:gd name="T15" fmla="*/ 184 h 2084"/>
                  <a:gd name="T16" fmla="*/ 0 w 651"/>
                  <a:gd name="T17" fmla="*/ 0 h 20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51" h="2084">
                    <a:moveTo>
                      <a:pt x="0" y="0"/>
                    </a:moveTo>
                    <a:cubicBezTo>
                      <a:pt x="651" y="0"/>
                      <a:pt x="651" y="0"/>
                      <a:pt x="651" y="0"/>
                    </a:cubicBezTo>
                    <a:cubicBezTo>
                      <a:pt x="651" y="0"/>
                      <a:pt x="507" y="69"/>
                      <a:pt x="507" y="184"/>
                    </a:cubicBezTo>
                    <a:cubicBezTo>
                      <a:pt x="507" y="1886"/>
                      <a:pt x="507" y="1886"/>
                      <a:pt x="507" y="1886"/>
                    </a:cubicBezTo>
                    <a:cubicBezTo>
                      <a:pt x="507" y="2008"/>
                      <a:pt x="651" y="2084"/>
                      <a:pt x="651" y="2084"/>
                    </a:cubicBezTo>
                    <a:cubicBezTo>
                      <a:pt x="0" y="2084"/>
                      <a:pt x="0" y="2084"/>
                      <a:pt x="0" y="2084"/>
                    </a:cubicBezTo>
                    <a:cubicBezTo>
                      <a:pt x="0" y="2084"/>
                      <a:pt x="145" y="2008"/>
                      <a:pt x="145" y="1886"/>
                    </a:cubicBezTo>
                    <a:cubicBezTo>
                      <a:pt x="145" y="184"/>
                      <a:pt x="145" y="184"/>
                      <a:pt x="145" y="184"/>
                    </a:cubicBezTo>
                    <a:cubicBezTo>
                      <a:pt x="145" y="69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FF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/>
              </a:p>
            </p:txBody>
          </p:sp>
          <p:sp>
            <p:nvSpPr>
              <p:cNvPr id="69" name="Freeform 101"/>
              <p:cNvSpPr>
                <a:spLocks/>
              </p:cNvSpPr>
              <p:nvPr/>
            </p:nvSpPr>
            <p:spPr bwMode="gray">
              <a:xfrm>
                <a:off x="2895" y="1171"/>
                <a:ext cx="312" cy="417"/>
              </a:xfrm>
              <a:custGeom>
                <a:avLst/>
                <a:gdLst>
                  <a:gd name="T0" fmla="*/ 127 w 1559"/>
                  <a:gd name="T1" fmla="*/ 0 h 2083"/>
                  <a:gd name="T2" fmla="*/ 1559 w 1559"/>
                  <a:gd name="T3" fmla="*/ 0 h 2083"/>
                  <a:gd name="T4" fmla="*/ 1438 w 1559"/>
                  <a:gd name="T5" fmla="*/ 378 h 2083"/>
                  <a:gd name="T6" fmla="*/ 1263 w 1559"/>
                  <a:gd name="T7" fmla="*/ 219 h 2083"/>
                  <a:gd name="T8" fmla="*/ 966 w 1559"/>
                  <a:gd name="T9" fmla="*/ 219 h 2083"/>
                  <a:gd name="T10" fmla="*/ 966 w 1559"/>
                  <a:gd name="T11" fmla="*/ 1886 h 2083"/>
                  <a:gd name="T12" fmla="*/ 1106 w 1559"/>
                  <a:gd name="T13" fmla="*/ 2083 h 2083"/>
                  <a:gd name="T14" fmla="*/ 468 w 1559"/>
                  <a:gd name="T15" fmla="*/ 2083 h 2083"/>
                  <a:gd name="T16" fmla="*/ 606 w 1559"/>
                  <a:gd name="T17" fmla="*/ 1886 h 2083"/>
                  <a:gd name="T18" fmla="*/ 606 w 1559"/>
                  <a:gd name="T19" fmla="*/ 219 h 2083"/>
                  <a:gd name="T20" fmla="*/ 248 w 1559"/>
                  <a:gd name="T21" fmla="*/ 219 h 2083"/>
                  <a:gd name="T22" fmla="*/ 0 w 1559"/>
                  <a:gd name="T23" fmla="*/ 410 h 2083"/>
                  <a:gd name="T24" fmla="*/ 127 w 1559"/>
                  <a:gd name="T25" fmla="*/ 0 h 20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59" h="2083">
                    <a:moveTo>
                      <a:pt x="127" y="0"/>
                    </a:moveTo>
                    <a:cubicBezTo>
                      <a:pt x="1559" y="0"/>
                      <a:pt x="1559" y="0"/>
                      <a:pt x="1559" y="0"/>
                    </a:cubicBezTo>
                    <a:cubicBezTo>
                      <a:pt x="1438" y="378"/>
                      <a:pt x="1438" y="378"/>
                      <a:pt x="1438" y="378"/>
                    </a:cubicBezTo>
                    <a:cubicBezTo>
                      <a:pt x="1438" y="378"/>
                      <a:pt x="1401" y="219"/>
                      <a:pt x="1263" y="219"/>
                    </a:cubicBezTo>
                    <a:cubicBezTo>
                      <a:pt x="966" y="219"/>
                      <a:pt x="966" y="219"/>
                      <a:pt x="966" y="219"/>
                    </a:cubicBezTo>
                    <a:cubicBezTo>
                      <a:pt x="966" y="1886"/>
                      <a:pt x="966" y="1886"/>
                      <a:pt x="966" y="1886"/>
                    </a:cubicBezTo>
                    <a:cubicBezTo>
                      <a:pt x="966" y="1991"/>
                      <a:pt x="1106" y="2083"/>
                      <a:pt x="1106" y="2083"/>
                    </a:cubicBezTo>
                    <a:cubicBezTo>
                      <a:pt x="468" y="2083"/>
                      <a:pt x="468" y="2083"/>
                      <a:pt x="468" y="2083"/>
                    </a:cubicBezTo>
                    <a:cubicBezTo>
                      <a:pt x="468" y="2083"/>
                      <a:pt x="606" y="2000"/>
                      <a:pt x="606" y="1886"/>
                    </a:cubicBezTo>
                    <a:cubicBezTo>
                      <a:pt x="606" y="219"/>
                      <a:pt x="606" y="219"/>
                      <a:pt x="606" y="219"/>
                    </a:cubicBezTo>
                    <a:cubicBezTo>
                      <a:pt x="248" y="219"/>
                      <a:pt x="248" y="219"/>
                      <a:pt x="248" y="219"/>
                    </a:cubicBezTo>
                    <a:cubicBezTo>
                      <a:pt x="146" y="219"/>
                      <a:pt x="0" y="410"/>
                      <a:pt x="0" y="410"/>
                    </a:cubicBezTo>
                    <a:lnTo>
                      <a:pt x="127" y="0"/>
                    </a:lnTo>
                    <a:close/>
                  </a:path>
                </a:pathLst>
              </a:custGeom>
              <a:solidFill>
                <a:srgbClr val="FF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/>
              </a:p>
            </p:txBody>
          </p:sp>
          <p:sp>
            <p:nvSpPr>
              <p:cNvPr id="70" name="Freeform 102"/>
              <p:cNvSpPr>
                <a:spLocks/>
              </p:cNvSpPr>
              <p:nvPr/>
            </p:nvSpPr>
            <p:spPr bwMode="gray">
              <a:xfrm>
                <a:off x="3462" y="1171"/>
                <a:ext cx="349" cy="423"/>
              </a:xfrm>
              <a:custGeom>
                <a:avLst/>
                <a:gdLst>
                  <a:gd name="T0" fmla="*/ 1116 w 1743"/>
                  <a:gd name="T1" fmla="*/ 0 h 2115"/>
                  <a:gd name="T2" fmla="*/ 1743 w 1743"/>
                  <a:gd name="T3" fmla="*/ 0 h 2115"/>
                  <a:gd name="T4" fmla="*/ 1609 w 1743"/>
                  <a:gd name="T5" fmla="*/ 184 h 2115"/>
                  <a:gd name="T6" fmla="*/ 1609 w 1743"/>
                  <a:gd name="T7" fmla="*/ 1445 h 2115"/>
                  <a:gd name="T8" fmla="*/ 889 w 1743"/>
                  <a:gd name="T9" fmla="*/ 2115 h 2115"/>
                  <a:gd name="T10" fmla="*/ 138 w 1743"/>
                  <a:gd name="T11" fmla="*/ 1445 h 2115"/>
                  <a:gd name="T12" fmla="*/ 138 w 1743"/>
                  <a:gd name="T13" fmla="*/ 184 h 2115"/>
                  <a:gd name="T14" fmla="*/ 0 w 1743"/>
                  <a:gd name="T15" fmla="*/ 0 h 2115"/>
                  <a:gd name="T16" fmla="*/ 645 w 1743"/>
                  <a:gd name="T17" fmla="*/ 0 h 2115"/>
                  <a:gd name="T18" fmla="*/ 502 w 1743"/>
                  <a:gd name="T19" fmla="*/ 184 h 2115"/>
                  <a:gd name="T20" fmla="*/ 502 w 1743"/>
                  <a:gd name="T21" fmla="*/ 1445 h 2115"/>
                  <a:gd name="T22" fmla="*/ 889 w 1743"/>
                  <a:gd name="T23" fmla="*/ 1890 h 2115"/>
                  <a:gd name="T24" fmla="*/ 1258 w 1743"/>
                  <a:gd name="T25" fmla="*/ 1445 h 2115"/>
                  <a:gd name="T26" fmla="*/ 1258 w 1743"/>
                  <a:gd name="T27" fmla="*/ 184 h 2115"/>
                  <a:gd name="T28" fmla="*/ 1116 w 1743"/>
                  <a:gd name="T29" fmla="*/ 0 h 2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743" h="2115">
                    <a:moveTo>
                      <a:pt x="1116" y="0"/>
                    </a:moveTo>
                    <a:cubicBezTo>
                      <a:pt x="1743" y="0"/>
                      <a:pt x="1743" y="0"/>
                      <a:pt x="1743" y="0"/>
                    </a:cubicBezTo>
                    <a:cubicBezTo>
                      <a:pt x="1743" y="0"/>
                      <a:pt x="1609" y="71"/>
                      <a:pt x="1609" y="184"/>
                    </a:cubicBezTo>
                    <a:cubicBezTo>
                      <a:pt x="1609" y="1445"/>
                      <a:pt x="1609" y="1445"/>
                      <a:pt x="1609" y="1445"/>
                    </a:cubicBezTo>
                    <a:cubicBezTo>
                      <a:pt x="1608" y="1957"/>
                      <a:pt x="1183" y="2115"/>
                      <a:pt x="889" y="2115"/>
                    </a:cubicBezTo>
                    <a:cubicBezTo>
                      <a:pt x="596" y="2115"/>
                      <a:pt x="138" y="1955"/>
                      <a:pt x="138" y="1445"/>
                    </a:cubicBezTo>
                    <a:cubicBezTo>
                      <a:pt x="138" y="184"/>
                      <a:pt x="138" y="184"/>
                      <a:pt x="138" y="184"/>
                    </a:cubicBezTo>
                    <a:cubicBezTo>
                      <a:pt x="139" y="71"/>
                      <a:pt x="0" y="0"/>
                      <a:pt x="0" y="0"/>
                    </a:cubicBezTo>
                    <a:cubicBezTo>
                      <a:pt x="645" y="0"/>
                      <a:pt x="645" y="0"/>
                      <a:pt x="645" y="0"/>
                    </a:cubicBezTo>
                    <a:cubicBezTo>
                      <a:pt x="645" y="0"/>
                      <a:pt x="502" y="69"/>
                      <a:pt x="502" y="184"/>
                    </a:cubicBezTo>
                    <a:cubicBezTo>
                      <a:pt x="502" y="1445"/>
                      <a:pt x="502" y="1445"/>
                      <a:pt x="502" y="1445"/>
                    </a:cubicBezTo>
                    <a:cubicBezTo>
                      <a:pt x="502" y="1714"/>
                      <a:pt x="680" y="1890"/>
                      <a:pt x="889" y="1890"/>
                    </a:cubicBezTo>
                    <a:cubicBezTo>
                      <a:pt x="1098" y="1890"/>
                      <a:pt x="1257" y="1707"/>
                      <a:pt x="1258" y="1445"/>
                    </a:cubicBezTo>
                    <a:cubicBezTo>
                      <a:pt x="1258" y="184"/>
                      <a:pt x="1258" y="184"/>
                      <a:pt x="1258" y="184"/>
                    </a:cubicBezTo>
                    <a:cubicBezTo>
                      <a:pt x="1258" y="71"/>
                      <a:pt x="1116" y="0"/>
                      <a:pt x="1116" y="0"/>
                    </a:cubicBezTo>
                    <a:close/>
                  </a:path>
                </a:pathLst>
              </a:custGeom>
              <a:solidFill>
                <a:srgbClr val="FF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/>
              </a:p>
            </p:txBody>
          </p:sp>
          <p:sp>
            <p:nvSpPr>
              <p:cNvPr id="71" name="Freeform 103"/>
              <p:cNvSpPr>
                <a:spLocks/>
              </p:cNvSpPr>
              <p:nvPr/>
            </p:nvSpPr>
            <p:spPr bwMode="gray">
              <a:xfrm>
                <a:off x="2241" y="1171"/>
                <a:ext cx="352" cy="424"/>
              </a:xfrm>
              <a:custGeom>
                <a:avLst/>
                <a:gdLst>
                  <a:gd name="T0" fmla="*/ 1122 w 1760"/>
                  <a:gd name="T1" fmla="*/ 0 h 2120"/>
                  <a:gd name="T2" fmla="*/ 1760 w 1760"/>
                  <a:gd name="T3" fmla="*/ 0 h 2120"/>
                  <a:gd name="T4" fmla="*/ 1625 w 1760"/>
                  <a:gd name="T5" fmla="*/ 186 h 2120"/>
                  <a:gd name="T6" fmla="*/ 1624 w 1760"/>
                  <a:gd name="T7" fmla="*/ 1444 h 2120"/>
                  <a:gd name="T8" fmla="*/ 882 w 1760"/>
                  <a:gd name="T9" fmla="*/ 2120 h 2120"/>
                  <a:gd name="T10" fmla="*/ 131 w 1760"/>
                  <a:gd name="T11" fmla="*/ 1444 h 2120"/>
                  <a:gd name="T12" fmla="*/ 130 w 1760"/>
                  <a:gd name="T13" fmla="*/ 186 h 2120"/>
                  <a:gd name="T14" fmla="*/ 0 w 1760"/>
                  <a:gd name="T15" fmla="*/ 0 h 2120"/>
                  <a:gd name="T16" fmla="*/ 645 w 1760"/>
                  <a:gd name="T17" fmla="*/ 0 h 2120"/>
                  <a:gd name="T18" fmla="*/ 496 w 1760"/>
                  <a:gd name="T19" fmla="*/ 186 h 2120"/>
                  <a:gd name="T20" fmla="*/ 495 w 1760"/>
                  <a:gd name="T21" fmla="*/ 1444 h 2120"/>
                  <a:gd name="T22" fmla="*/ 882 w 1760"/>
                  <a:gd name="T23" fmla="*/ 1895 h 2120"/>
                  <a:gd name="T24" fmla="*/ 1258 w 1760"/>
                  <a:gd name="T25" fmla="*/ 1444 h 2120"/>
                  <a:gd name="T26" fmla="*/ 1259 w 1760"/>
                  <a:gd name="T27" fmla="*/ 186 h 2120"/>
                  <a:gd name="T28" fmla="*/ 1122 w 1760"/>
                  <a:gd name="T29" fmla="*/ 0 h 2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760" h="2120">
                    <a:moveTo>
                      <a:pt x="1122" y="0"/>
                    </a:moveTo>
                    <a:cubicBezTo>
                      <a:pt x="1760" y="0"/>
                      <a:pt x="1760" y="0"/>
                      <a:pt x="1760" y="0"/>
                    </a:cubicBezTo>
                    <a:cubicBezTo>
                      <a:pt x="1760" y="0"/>
                      <a:pt x="1625" y="74"/>
                      <a:pt x="1625" y="186"/>
                    </a:cubicBezTo>
                    <a:cubicBezTo>
                      <a:pt x="1625" y="186"/>
                      <a:pt x="1624" y="1444"/>
                      <a:pt x="1624" y="1444"/>
                    </a:cubicBezTo>
                    <a:cubicBezTo>
                      <a:pt x="1624" y="1959"/>
                      <a:pt x="1179" y="2120"/>
                      <a:pt x="882" y="2120"/>
                    </a:cubicBezTo>
                    <a:cubicBezTo>
                      <a:pt x="589" y="2120"/>
                      <a:pt x="131" y="1956"/>
                      <a:pt x="131" y="1444"/>
                    </a:cubicBezTo>
                    <a:cubicBezTo>
                      <a:pt x="130" y="186"/>
                      <a:pt x="130" y="186"/>
                      <a:pt x="130" y="186"/>
                    </a:cubicBezTo>
                    <a:cubicBezTo>
                      <a:pt x="130" y="73"/>
                      <a:pt x="0" y="0"/>
                      <a:pt x="0" y="0"/>
                    </a:cubicBezTo>
                    <a:cubicBezTo>
                      <a:pt x="645" y="0"/>
                      <a:pt x="645" y="0"/>
                      <a:pt x="645" y="0"/>
                    </a:cubicBezTo>
                    <a:cubicBezTo>
                      <a:pt x="645" y="0"/>
                      <a:pt x="496" y="73"/>
                      <a:pt x="496" y="186"/>
                    </a:cubicBezTo>
                    <a:cubicBezTo>
                      <a:pt x="495" y="1444"/>
                      <a:pt x="495" y="1444"/>
                      <a:pt x="495" y="1444"/>
                    </a:cubicBezTo>
                    <a:cubicBezTo>
                      <a:pt x="495" y="1710"/>
                      <a:pt x="673" y="1894"/>
                      <a:pt x="882" y="1895"/>
                    </a:cubicBezTo>
                    <a:cubicBezTo>
                      <a:pt x="1091" y="1896"/>
                      <a:pt x="1258" y="1708"/>
                      <a:pt x="1258" y="1444"/>
                    </a:cubicBezTo>
                    <a:cubicBezTo>
                      <a:pt x="1259" y="186"/>
                      <a:pt x="1259" y="186"/>
                      <a:pt x="1259" y="186"/>
                    </a:cubicBezTo>
                    <a:cubicBezTo>
                      <a:pt x="1259" y="73"/>
                      <a:pt x="1122" y="0"/>
                      <a:pt x="1122" y="0"/>
                    </a:cubicBezTo>
                    <a:close/>
                  </a:path>
                </a:pathLst>
              </a:custGeom>
              <a:solidFill>
                <a:srgbClr val="FF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/>
              </a:p>
            </p:txBody>
          </p:sp>
          <p:sp>
            <p:nvSpPr>
              <p:cNvPr id="72" name="Freeform 104"/>
              <p:cNvSpPr>
                <a:spLocks/>
              </p:cNvSpPr>
              <p:nvPr/>
            </p:nvSpPr>
            <p:spPr bwMode="gray">
              <a:xfrm>
                <a:off x="3193" y="1162"/>
                <a:ext cx="268" cy="433"/>
              </a:xfrm>
              <a:custGeom>
                <a:avLst/>
                <a:gdLst>
                  <a:gd name="T0" fmla="*/ 1152 w 1341"/>
                  <a:gd name="T1" fmla="*/ 375 h 2163"/>
                  <a:gd name="T2" fmla="*/ 800 w 1341"/>
                  <a:gd name="T3" fmla="*/ 216 h 2163"/>
                  <a:gd name="T4" fmla="*/ 396 w 1341"/>
                  <a:gd name="T5" fmla="*/ 531 h 2163"/>
                  <a:gd name="T6" fmla="*/ 782 w 1341"/>
                  <a:gd name="T7" fmla="*/ 922 h 2163"/>
                  <a:gd name="T8" fmla="*/ 1340 w 1341"/>
                  <a:gd name="T9" fmla="*/ 1550 h 2163"/>
                  <a:gd name="T10" fmla="*/ 511 w 1341"/>
                  <a:gd name="T11" fmla="*/ 2163 h 2163"/>
                  <a:gd name="T12" fmla="*/ 121 w 1341"/>
                  <a:gd name="T13" fmla="*/ 2109 h 2163"/>
                  <a:gd name="T14" fmla="*/ 0 w 1341"/>
                  <a:gd name="T15" fmla="*/ 1709 h 2163"/>
                  <a:gd name="T16" fmla="*/ 517 w 1341"/>
                  <a:gd name="T17" fmla="*/ 1936 h 2163"/>
                  <a:gd name="T18" fmla="*/ 983 w 1341"/>
                  <a:gd name="T19" fmla="*/ 1594 h 2163"/>
                  <a:gd name="T20" fmla="*/ 36 w 1341"/>
                  <a:gd name="T21" fmla="*/ 573 h 2163"/>
                  <a:gd name="T22" fmla="*/ 765 w 1341"/>
                  <a:gd name="T23" fmla="*/ 0 h 2163"/>
                  <a:gd name="T24" fmla="*/ 1153 w 1341"/>
                  <a:gd name="T25" fmla="*/ 53 h 2163"/>
                  <a:gd name="T26" fmla="*/ 1152 w 1341"/>
                  <a:gd name="T27" fmla="*/ 375 h 2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41" h="2163">
                    <a:moveTo>
                      <a:pt x="1152" y="375"/>
                    </a:moveTo>
                    <a:cubicBezTo>
                      <a:pt x="1152" y="375"/>
                      <a:pt x="1062" y="217"/>
                      <a:pt x="800" y="216"/>
                    </a:cubicBezTo>
                    <a:cubicBezTo>
                      <a:pt x="539" y="215"/>
                      <a:pt x="396" y="353"/>
                      <a:pt x="396" y="531"/>
                    </a:cubicBezTo>
                    <a:cubicBezTo>
                      <a:pt x="395" y="733"/>
                      <a:pt x="547" y="809"/>
                      <a:pt x="782" y="922"/>
                    </a:cubicBezTo>
                    <a:cubicBezTo>
                      <a:pt x="1005" y="1029"/>
                      <a:pt x="1341" y="1177"/>
                      <a:pt x="1340" y="1550"/>
                    </a:cubicBezTo>
                    <a:cubicBezTo>
                      <a:pt x="1339" y="1884"/>
                      <a:pt x="1042" y="2163"/>
                      <a:pt x="511" y="2163"/>
                    </a:cubicBezTo>
                    <a:cubicBezTo>
                      <a:pt x="347" y="2163"/>
                      <a:pt x="121" y="2109"/>
                      <a:pt x="121" y="2109"/>
                    </a:cubicBezTo>
                    <a:cubicBezTo>
                      <a:pt x="0" y="1709"/>
                      <a:pt x="0" y="1709"/>
                      <a:pt x="0" y="1709"/>
                    </a:cubicBezTo>
                    <a:cubicBezTo>
                      <a:pt x="112" y="1819"/>
                      <a:pt x="312" y="1936"/>
                      <a:pt x="517" y="1936"/>
                    </a:cubicBezTo>
                    <a:cubicBezTo>
                      <a:pt x="729" y="1936"/>
                      <a:pt x="983" y="1805"/>
                      <a:pt x="983" y="1594"/>
                    </a:cubicBezTo>
                    <a:cubicBezTo>
                      <a:pt x="983" y="1187"/>
                      <a:pt x="36" y="1255"/>
                      <a:pt x="36" y="573"/>
                    </a:cubicBezTo>
                    <a:cubicBezTo>
                      <a:pt x="36" y="339"/>
                      <a:pt x="199" y="0"/>
                      <a:pt x="765" y="0"/>
                    </a:cubicBezTo>
                    <a:cubicBezTo>
                      <a:pt x="948" y="0"/>
                      <a:pt x="1153" y="53"/>
                      <a:pt x="1153" y="53"/>
                    </a:cubicBezTo>
                    <a:lnTo>
                      <a:pt x="1152" y="375"/>
                    </a:lnTo>
                    <a:close/>
                  </a:path>
                </a:pathLst>
              </a:custGeom>
              <a:solidFill>
                <a:srgbClr val="FF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9132729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1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bg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vert="horz" wrap="none" lIns="91412" tIns="45706" rIns="91412" bIns="45706" numCol="1" rtlCol="0" anchor="ctr" anchorCtr="0" compatLnSpc="1">
            <a:prstTxWarp prst="textNoShape">
              <a:avLst/>
            </a:prstTxWarp>
          </a:bodyPr>
          <a:lstStyle/>
          <a:p>
            <a:endParaRPr lang="ja-JP" altLang="en-US" sz="1600">
              <a:latin typeface="FUJI-新ゴ R" panose="020B0400000000000000" pitchFamily="50" charset="-128"/>
              <a:ea typeface="FUJI-新ゴ R" panose="020B0400000000000000" pitchFamily="50" charset="-128"/>
            </a:endParaRPr>
          </a:p>
        </p:txBody>
      </p:sp>
      <p:sp>
        <p:nvSpPr>
          <p:cNvPr id="13" name="フッター プレースホルダー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ja-JP">
                <a:solidFill>
                  <a:srgbClr val="000000"/>
                </a:solidFill>
              </a:rPr>
              <a:t>Copyright 2020 FUJITSU LIMITED</a:t>
            </a:r>
            <a:endParaRPr lang="de-DE" altLang="ja-JP">
              <a:solidFill>
                <a:srgbClr val="000000"/>
              </a:solidFill>
            </a:endParaRPr>
          </a:p>
        </p:txBody>
      </p:sp>
      <p:grpSp>
        <p:nvGrpSpPr>
          <p:cNvPr id="36" name="グループ化 35"/>
          <p:cNvGrpSpPr/>
          <p:nvPr userDrawn="1"/>
        </p:nvGrpSpPr>
        <p:grpSpPr>
          <a:xfrm>
            <a:off x="8008043" y="247968"/>
            <a:ext cx="895497" cy="435425"/>
            <a:chOff x="8008039" y="247965"/>
            <a:chExt cx="895497" cy="435425"/>
          </a:xfrm>
        </p:grpSpPr>
        <p:sp>
          <p:nvSpPr>
            <p:cNvPr id="37" name="Freeform 73"/>
            <p:cNvSpPr>
              <a:spLocks/>
            </p:cNvSpPr>
            <p:nvPr userDrawn="1"/>
          </p:nvSpPr>
          <p:spPr bwMode="gray">
            <a:xfrm>
              <a:off x="8302431" y="399953"/>
              <a:ext cx="82156" cy="283437"/>
            </a:xfrm>
            <a:custGeom>
              <a:avLst/>
              <a:gdLst/>
              <a:ahLst/>
              <a:cxnLst>
                <a:cxn ang="0">
                  <a:pos x="246" y="0"/>
                </a:cxn>
                <a:cxn ang="0">
                  <a:pos x="1072" y="0"/>
                </a:cxn>
                <a:cxn ang="0">
                  <a:pos x="887" y="230"/>
                </a:cxn>
                <a:cxn ang="0">
                  <a:pos x="887" y="2717"/>
                </a:cxn>
                <a:cxn ang="0">
                  <a:pos x="0" y="3693"/>
                </a:cxn>
                <a:cxn ang="0">
                  <a:pos x="423" y="2717"/>
                </a:cxn>
                <a:cxn ang="0">
                  <a:pos x="423" y="230"/>
                </a:cxn>
                <a:cxn ang="0">
                  <a:pos x="246" y="0"/>
                </a:cxn>
              </a:cxnLst>
              <a:rect l="0" t="0" r="r" b="b"/>
              <a:pathLst>
                <a:path w="1072" h="3696">
                  <a:moveTo>
                    <a:pt x="246" y="0"/>
                  </a:moveTo>
                  <a:cubicBezTo>
                    <a:pt x="1072" y="0"/>
                    <a:pt x="1072" y="0"/>
                    <a:pt x="1072" y="0"/>
                  </a:cubicBezTo>
                  <a:cubicBezTo>
                    <a:pt x="1072" y="0"/>
                    <a:pt x="887" y="87"/>
                    <a:pt x="887" y="230"/>
                  </a:cubicBezTo>
                  <a:cubicBezTo>
                    <a:pt x="887" y="2717"/>
                    <a:pt x="887" y="2717"/>
                    <a:pt x="887" y="2717"/>
                  </a:cubicBezTo>
                  <a:cubicBezTo>
                    <a:pt x="887" y="3558"/>
                    <a:pt x="44" y="3696"/>
                    <a:pt x="0" y="3693"/>
                  </a:cubicBezTo>
                  <a:cubicBezTo>
                    <a:pt x="72" y="3647"/>
                    <a:pt x="422" y="3349"/>
                    <a:pt x="423" y="2717"/>
                  </a:cubicBezTo>
                  <a:cubicBezTo>
                    <a:pt x="423" y="230"/>
                    <a:pt x="423" y="230"/>
                    <a:pt x="423" y="230"/>
                  </a:cubicBezTo>
                  <a:cubicBezTo>
                    <a:pt x="424" y="96"/>
                    <a:pt x="246" y="0"/>
                    <a:pt x="246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en-GB" sz="1799" kern="0">
                <a:solidFill>
                  <a:sysClr val="windowText" lastClr="000000"/>
                </a:solidFill>
                <a:ea typeface="FUJI-新ゴ M" panose="020B0500000000000000" pitchFamily="50" charset="-128"/>
              </a:endParaRPr>
            </a:p>
          </p:txBody>
        </p:sp>
        <p:grpSp>
          <p:nvGrpSpPr>
            <p:cNvPr id="38" name="グループ化 37"/>
            <p:cNvGrpSpPr/>
            <p:nvPr userDrawn="1"/>
          </p:nvGrpSpPr>
          <p:grpSpPr>
            <a:xfrm>
              <a:off x="8008039" y="247965"/>
              <a:ext cx="895497" cy="358747"/>
              <a:chOff x="8008039" y="247965"/>
              <a:chExt cx="895497" cy="358747"/>
            </a:xfrm>
          </p:grpSpPr>
          <p:sp>
            <p:nvSpPr>
              <p:cNvPr id="39" name="Freeform 71"/>
              <p:cNvSpPr>
                <a:spLocks/>
              </p:cNvSpPr>
              <p:nvPr userDrawn="1"/>
            </p:nvSpPr>
            <p:spPr bwMode="gray">
              <a:xfrm>
                <a:off x="8303800" y="247965"/>
                <a:ext cx="180743" cy="139665"/>
              </a:xfrm>
              <a:custGeom>
                <a:avLst/>
                <a:gdLst/>
                <a:ahLst/>
                <a:cxnLst>
                  <a:cxn ang="0">
                    <a:pos x="961" y="764"/>
                  </a:cxn>
                  <a:cxn ang="0">
                    <a:pos x="599" y="642"/>
                  </a:cxn>
                  <a:cxn ang="0">
                    <a:pos x="1" y="1235"/>
                  </a:cxn>
                  <a:cxn ang="0">
                    <a:pos x="599" y="1825"/>
                  </a:cxn>
                  <a:cxn ang="0">
                    <a:pos x="1053" y="1619"/>
                  </a:cxn>
                  <a:cxn ang="0">
                    <a:pos x="1053" y="1293"/>
                  </a:cxn>
                  <a:cxn ang="0">
                    <a:pos x="771" y="1568"/>
                  </a:cxn>
                  <a:cxn ang="0">
                    <a:pos x="599" y="1604"/>
                  </a:cxn>
                  <a:cxn ang="0">
                    <a:pos x="225" y="1235"/>
                  </a:cxn>
                  <a:cxn ang="0">
                    <a:pos x="599" y="863"/>
                  </a:cxn>
                  <a:cxn ang="0">
                    <a:pos x="861" y="972"/>
                  </a:cxn>
                  <a:cxn ang="0">
                    <a:pos x="1093" y="1239"/>
                  </a:cxn>
                  <a:cxn ang="0">
                    <a:pos x="1630" y="1473"/>
                  </a:cxn>
                  <a:cxn ang="0">
                    <a:pos x="2365" y="741"/>
                  </a:cxn>
                  <a:cxn ang="0">
                    <a:pos x="1630" y="0"/>
                  </a:cxn>
                  <a:cxn ang="0">
                    <a:pos x="1053" y="295"/>
                  </a:cxn>
                  <a:cxn ang="0">
                    <a:pos x="1053" y="735"/>
                  </a:cxn>
                  <a:cxn ang="0">
                    <a:pos x="1630" y="232"/>
                  </a:cxn>
                  <a:cxn ang="0">
                    <a:pos x="2134" y="741"/>
                  </a:cxn>
                  <a:cxn ang="0">
                    <a:pos x="1630" y="1245"/>
                  </a:cxn>
                  <a:cxn ang="0">
                    <a:pos x="1303" y="1125"/>
                  </a:cxn>
                  <a:cxn ang="0">
                    <a:pos x="961" y="764"/>
                  </a:cxn>
                </a:cxnLst>
                <a:rect l="0" t="0" r="r" b="b"/>
                <a:pathLst>
                  <a:path w="2365" h="1825">
                    <a:moveTo>
                      <a:pt x="961" y="764"/>
                    </a:moveTo>
                    <a:cubicBezTo>
                      <a:pt x="875" y="688"/>
                      <a:pt x="736" y="643"/>
                      <a:pt x="599" y="642"/>
                    </a:cubicBezTo>
                    <a:cubicBezTo>
                      <a:pt x="270" y="641"/>
                      <a:pt x="2" y="900"/>
                      <a:pt x="1" y="1235"/>
                    </a:cubicBezTo>
                    <a:cubicBezTo>
                      <a:pt x="0" y="1563"/>
                      <a:pt x="270" y="1824"/>
                      <a:pt x="599" y="1825"/>
                    </a:cubicBezTo>
                    <a:cubicBezTo>
                      <a:pt x="783" y="1825"/>
                      <a:pt x="943" y="1751"/>
                      <a:pt x="1053" y="1619"/>
                    </a:cubicBezTo>
                    <a:cubicBezTo>
                      <a:pt x="1053" y="1293"/>
                      <a:pt x="1053" y="1293"/>
                      <a:pt x="1053" y="1293"/>
                    </a:cubicBezTo>
                    <a:cubicBezTo>
                      <a:pt x="994" y="1394"/>
                      <a:pt x="877" y="1524"/>
                      <a:pt x="771" y="1568"/>
                    </a:cubicBezTo>
                    <a:cubicBezTo>
                      <a:pt x="717" y="1590"/>
                      <a:pt x="662" y="1604"/>
                      <a:pt x="599" y="1604"/>
                    </a:cubicBezTo>
                    <a:cubicBezTo>
                      <a:pt x="394" y="1604"/>
                      <a:pt x="225" y="1445"/>
                      <a:pt x="225" y="1235"/>
                    </a:cubicBezTo>
                    <a:cubicBezTo>
                      <a:pt x="225" y="1041"/>
                      <a:pt x="380" y="862"/>
                      <a:pt x="599" y="863"/>
                    </a:cubicBezTo>
                    <a:cubicBezTo>
                      <a:pt x="701" y="863"/>
                      <a:pt x="793" y="905"/>
                      <a:pt x="861" y="972"/>
                    </a:cubicBezTo>
                    <a:cubicBezTo>
                      <a:pt x="931" y="1040"/>
                      <a:pt x="1041" y="1183"/>
                      <a:pt x="1093" y="1239"/>
                    </a:cubicBezTo>
                    <a:cubicBezTo>
                      <a:pt x="1227" y="1383"/>
                      <a:pt x="1419" y="1473"/>
                      <a:pt x="1630" y="1473"/>
                    </a:cubicBezTo>
                    <a:cubicBezTo>
                      <a:pt x="2036" y="1474"/>
                      <a:pt x="2365" y="1146"/>
                      <a:pt x="2365" y="741"/>
                    </a:cubicBezTo>
                    <a:cubicBezTo>
                      <a:pt x="2365" y="336"/>
                      <a:pt x="2035" y="0"/>
                      <a:pt x="1630" y="0"/>
                    </a:cubicBezTo>
                    <a:cubicBezTo>
                      <a:pt x="1395" y="0"/>
                      <a:pt x="1187" y="122"/>
                      <a:pt x="1053" y="295"/>
                    </a:cubicBezTo>
                    <a:cubicBezTo>
                      <a:pt x="1053" y="735"/>
                      <a:pt x="1053" y="735"/>
                      <a:pt x="1053" y="735"/>
                    </a:cubicBezTo>
                    <a:cubicBezTo>
                      <a:pt x="1155" y="455"/>
                      <a:pt x="1340" y="232"/>
                      <a:pt x="1630" y="232"/>
                    </a:cubicBezTo>
                    <a:cubicBezTo>
                      <a:pt x="1909" y="232"/>
                      <a:pt x="2135" y="463"/>
                      <a:pt x="2134" y="741"/>
                    </a:cubicBezTo>
                    <a:cubicBezTo>
                      <a:pt x="2134" y="1020"/>
                      <a:pt x="1909" y="1246"/>
                      <a:pt x="1630" y="1245"/>
                    </a:cubicBezTo>
                    <a:cubicBezTo>
                      <a:pt x="1506" y="1244"/>
                      <a:pt x="1391" y="1199"/>
                      <a:pt x="1303" y="1125"/>
                    </a:cubicBezTo>
                    <a:cubicBezTo>
                      <a:pt x="1194" y="1040"/>
                      <a:pt x="1074" y="860"/>
                      <a:pt x="961" y="764"/>
                    </a:cubicBezTo>
                  </a:path>
                </a:pathLst>
              </a:custGeom>
              <a:solidFill>
                <a:srgbClr val="FF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en-GB" sz="1799" kern="0">
                  <a:solidFill>
                    <a:sysClr val="windowText" lastClr="000000"/>
                  </a:solidFill>
                  <a:ea typeface="FUJI-新ゴ M" panose="020B0500000000000000" pitchFamily="50" charset="-128"/>
                </a:endParaRPr>
              </a:p>
            </p:txBody>
          </p:sp>
          <p:sp>
            <p:nvSpPr>
              <p:cNvPr id="40" name="Freeform 72"/>
              <p:cNvSpPr>
                <a:spLocks/>
              </p:cNvSpPr>
              <p:nvPr userDrawn="1"/>
            </p:nvSpPr>
            <p:spPr bwMode="gray">
              <a:xfrm>
                <a:off x="8008039" y="399953"/>
                <a:ext cx="124603" cy="20265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624" y="0"/>
                  </a:cxn>
                  <a:cxn ang="0">
                    <a:pos x="1624" y="452"/>
                  </a:cxn>
                  <a:cxn ang="0">
                    <a:pos x="1365" y="273"/>
                  </a:cxn>
                  <a:cxn ang="0">
                    <a:pos x="613" y="273"/>
                  </a:cxn>
                  <a:cxn ang="0">
                    <a:pos x="613" y="1053"/>
                  </a:cxn>
                  <a:cxn ang="0">
                    <a:pos x="1428" y="1053"/>
                  </a:cxn>
                  <a:cxn ang="0">
                    <a:pos x="1428" y="1467"/>
                  </a:cxn>
                  <a:cxn ang="0">
                    <a:pos x="1205" y="1335"/>
                  </a:cxn>
                  <a:cxn ang="0">
                    <a:pos x="613" y="1335"/>
                  </a:cxn>
                  <a:cxn ang="0">
                    <a:pos x="613" y="2401"/>
                  </a:cxn>
                  <a:cxn ang="0">
                    <a:pos x="784" y="2651"/>
                  </a:cxn>
                  <a:cxn ang="0">
                    <a:pos x="11" y="2651"/>
                  </a:cxn>
                  <a:cxn ang="0">
                    <a:pos x="173" y="2401"/>
                  </a:cxn>
                  <a:cxn ang="0">
                    <a:pos x="173" y="278"/>
                  </a:cxn>
                  <a:cxn ang="0">
                    <a:pos x="0" y="0"/>
                  </a:cxn>
                </a:cxnLst>
                <a:rect l="0" t="0" r="r" b="b"/>
                <a:pathLst>
                  <a:path w="1624" h="2651">
                    <a:moveTo>
                      <a:pt x="0" y="0"/>
                    </a:moveTo>
                    <a:cubicBezTo>
                      <a:pt x="1624" y="0"/>
                      <a:pt x="1624" y="0"/>
                      <a:pt x="1624" y="0"/>
                    </a:cubicBezTo>
                    <a:cubicBezTo>
                      <a:pt x="1624" y="452"/>
                      <a:pt x="1624" y="452"/>
                      <a:pt x="1624" y="452"/>
                    </a:cubicBezTo>
                    <a:cubicBezTo>
                      <a:pt x="1624" y="452"/>
                      <a:pt x="1540" y="274"/>
                      <a:pt x="1365" y="273"/>
                    </a:cubicBezTo>
                    <a:cubicBezTo>
                      <a:pt x="613" y="273"/>
                      <a:pt x="613" y="273"/>
                      <a:pt x="613" y="273"/>
                    </a:cubicBezTo>
                    <a:cubicBezTo>
                      <a:pt x="613" y="1053"/>
                      <a:pt x="613" y="1053"/>
                      <a:pt x="613" y="1053"/>
                    </a:cubicBezTo>
                    <a:cubicBezTo>
                      <a:pt x="1428" y="1053"/>
                      <a:pt x="1428" y="1053"/>
                      <a:pt x="1428" y="1053"/>
                    </a:cubicBezTo>
                    <a:cubicBezTo>
                      <a:pt x="1428" y="1467"/>
                      <a:pt x="1428" y="1467"/>
                      <a:pt x="1428" y="1467"/>
                    </a:cubicBezTo>
                    <a:cubicBezTo>
                      <a:pt x="1428" y="1467"/>
                      <a:pt x="1402" y="1335"/>
                      <a:pt x="1205" y="1335"/>
                    </a:cubicBezTo>
                    <a:cubicBezTo>
                      <a:pt x="613" y="1335"/>
                      <a:pt x="613" y="1335"/>
                      <a:pt x="613" y="1335"/>
                    </a:cubicBezTo>
                    <a:cubicBezTo>
                      <a:pt x="613" y="2401"/>
                      <a:pt x="613" y="2401"/>
                      <a:pt x="613" y="2401"/>
                    </a:cubicBezTo>
                    <a:cubicBezTo>
                      <a:pt x="613" y="2558"/>
                      <a:pt x="784" y="2651"/>
                      <a:pt x="784" y="2651"/>
                    </a:cubicBezTo>
                    <a:cubicBezTo>
                      <a:pt x="11" y="2651"/>
                      <a:pt x="11" y="2651"/>
                      <a:pt x="11" y="2651"/>
                    </a:cubicBezTo>
                    <a:cubicBezTo>
                      <a:pt x="11" y="2651"/>
                      <a:pt x="173" y="2569"/>
                      <a:pt x="173" y="2401"/>
                    </a:cubicBezTo>
                    <a:cubicBezTo>
                      <a:pt x="173" y="278"/>
                      <a:pt x="173" y="278"/>
                      <a:pt x="173" y="278"/>
                    </a:cubicBezTo>
                    <a:cubicBezTo>
                      <a:pt x="173" y="99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FF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en-GB" sz="1799" kern="0">
                  <a:solidFill>
                    <a:sysClr val="windowText" lastClr="000000"/>
                  </a:solidFill>
                  <a:ea typeface="FUJI-新ゴ M" panose="020B0500000000000000" pitchFamily="50" charset="-128"/>
                </a:endParaRPr>
              </a:p>
            </p:txBody>
          </p:sp>
          <p:sp>
            <p:nvSpPr>
              <p:cNvPr id="41" name="Freeform 74"/>
              <p:cNvSpPr>
                <a:spLocks/>
              </p:cNvSpPr>
              <p:nvPr userDrawn="1"/>
            </p:nvSpPr>
            <p:spPr bwMode="gray">
              <a:xfrm>
                <a:off x="8392802" y="399953"/>
                <a:ext cx="64355" cy="20265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828" y="0"/>
                  </a:cxn>
                  <a:cxn ang="0">
                    <a:pos x="645" y="235"/>
                  </a:cxn>
                  <a:cxn ang="0">
                    <a:pos x="645" y="2401"/>
                  </a:cxn>
                  <a:cxn ang="0">
                    <a:pos x="828" y="2653"/>
                  </a:cxn>
                  <a:cxn ang="0">
                    <a:pos x="0" y="2653"/>
                  </a:cxn>
                  <a:cxn ang="0">
                    <a:pos x="184" y="2401"/>
                  </a:cxn>
                  <a:cxn ang="0">
                    <a:pos x="184" y="235"/>
                  </a:cxn>
                  <a:cxn ang="0">
                    <a:pos x="0" y="0"/>
                  </a:cxn>
                </a:cxnLst>
                <a:rect l="0" t="0" r="r" b="b"/>
                <a:pathLst>
                  <a:path w="828" h="2653">
                    <a:moveTo>
                      <a:pt x="0" y="0"/>
                    </a:moveTo>
                    <a:cubicBezTo>
                      <a:pt x="828" y="0"/>
                      <a:pt x="828" y="0"/>
                      <a:pt x="828" y="0"/>
                    </a:cubicBezTo>
                    <a:cubicBezTo>
                      <a:pt x="828" y="0"/>
                      <a:pt x="645" y="89"/>
                      <a:pt x="645" y="235"/>
                    </a:cubicBezTo>
                    <a:cubicBezTo>
                      <a:pt x="645" y="2401"/>
                      <a:pt x="645" y="2401"/>
                      <a:pt x="645" y="2401"/>
                    </a:cubicBezTo>
                    <a:cubicBezTo>
                      <a:pt x="645" y="2556"/>
                      <a:pt x="828" y="2653"/>
                      <a:pt x="828" y="2653"/>
                    </a:cubicBezTo>
                    <a:cubicBezTo>
                      <a:pt x="0" y="2653"/>
                      <a:pt x="0" y="2653"/>
                      <a:pt x="0" y="2653"/>
                    </a:cubicBezTo>
                    <a:cubicBezTo>
                      <a:pt x="0" y="2653"/>
                      <a:pt x="184" y="2557"/>
                      <a:pt x="184" y="2401"/>
                    </a:cubicBezTo>
                    <a:cubicBezTo>
                      <a:pt x="184" y="235"/>
                      <a:pt x="184" y="235"/>
                      <a:pt x="184" y="235"/>
                    </a:cubicBezTo>
                    <a:cubicBezTo>
                      <a:pt x="184" y="89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FF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en-GB" sz="1799" kern="0">
                  <a:solidFill>
                    <a:sysClr val="windowText" lastClr="000000"/>
                  </a:solidFill>
                  <a:ea typeface="FUJI-新ゴ M" panose="020B0500000000000000" pitchFamily="50" charset="-128"/>
                </a:endParaRPr>
              </a:p>
            </p:txBody>
          </p:sp>
          <p:sp>
            <p:nvSpPr>
              <p:cNvPr id="42" name="Freeform 75"/>
              <p:cNvSpPr>
                <a:spLocks/>
              </p:cNvSpPr>
              <p:nvPr userDrawn="1"/>
            </p:nvSpPr>
            <p:spPr bwMode="gray">
              <a:xfrm>
                <a:off x="8457157" y="399953"/>
                <a:ext cx="151988" cy="202651"/>
              </a:xfrm>
              <a:custGeom>
                <a:avLst/>
                <a:gdLst/>
                <a:ahLst/>
                <a:cxnLst>
                  <a:cxn ang="0">
                    <a:pos x="161" y="0"/>
                  </a:cxn>
                  <a:cxn ang="0">
                    <a:pos x="1984" y="0"/>
                  </a:cxn>
                  <a:cxn ang="0">
                    <a:pos x="1829" y="482"/>
                  </a:cxn>
                  <a:cxn ang="0">
                    <a:pos x="1607" y="279"/>
                  </a:cxn>
                  <a:cxn ang="0">
                    <a:pos x="1229" y="279"/>
                  </a:cxn>
                  <a:cxn ang="0">
                    <a:pos x="1229" y="2401"/>
                  </a:cxn>
                  <a:cxn ang="0">
                    <a:pos x="1407" y="2651"/>
                  </a:cxn>
                  <a:cxn ang="0">
                    <a:pos x="595" y="2651"/>
                  </a:cxn>
                  <a:cxn ang="0">
                    <a:pos x="771" y="2401"/>
                  </a:cxn>
                  <a:cxn ang="0">
                    <a:pos x="771" y="279"/>
                  </a:cxn>
                  <a:cxn ang="0">
                    <a:pos x="315" y="279"/>
                  </a:cxn>
                  <a:cxn ang="0">
                    <a:pos x="0" y="522"/>
                  </a:cxn>
                  <a:cxn ang="0">
                    <a:pos x="161" y="0"/>
                  </a:cxn>
                </a:cxnLst>
                <a:rect l="0" t="0" r="r" b="b"/>
                <a:pathLst>
                  <a:path w="1984" h="2651">
                    <a:moveTo>
                      <a:pt x="161" y="0"/>
                    </a:moveTo>
                    <a:cubicBezTo>
                      <a:pt x="1984" y="0"/>
                      <a:pt x="1984" y="0"/>
                      <a:pt x="1984" y="0"/>
                    </a:cubicBezTo>
                    <a:cubicBezTo>
                      <a:pt x="1829" y="482"/>
                      <a:pt x="1829" y="482"/>
                      <a:pt x="1829" y="482"/>
                    </a:cubicBezTo>
                    <a:cubicBezTo>
                      <a:pt x="1829" y="482"/>
                      <a:pt x="1783" y="279"/>
                      <a:pt x="1607" y="279"/>
                    </a:cubicBezTo>
                    <a:cubicBezTo>
                      <a:pt x="1229" y="279"/>
                      <a:pt x="1229" y="279"/>
                      <a:pt x="1229" y="279"/>
                    </a:cubicBezTo>
                    <a:cubicBezTo>
                      <a:pt x="1229" y="2401"/>
                      <a:pt x="1229" y="2401"/>
                      <a:pt x="1229" y="2401"/>
                    </a:cubicBezTo>
                    <a:cubicBezTo>
                      <a:pt x="1229" y="2535"/>
                      <a:pt x="1407" y="2651"/>
                      <a:pt x="1407" y="2651"/>
                    </a:cubicBezTo>
                    <a:cubicBezTo>
                      <a:pt x="595" y="2651"/>
                      <a:pt x="595" y="2651"/>
                      <a:pt x="595" y="2651"/>
                    </a:cubicBezTo>
                    <a:cubicBezTo>
                      <a:pt x="595" y="2651"/>
                      <a:pt x="771" y="2547"/>
                      <a:pt x="771" y="2401"/>
                    </a:cubicBezTo>
                    <a:cubicBezTo>
                      <a:pt x="771" y="279"/>
                      <a:pt x="771" y="279"/>
                      <a:pt x="771" y="279"/>
                    </a:cubicBezTo>
                    <a:cubicBezTo>
                      <a:pt x="315" y="279"/>
                      <a:pt x="315" y="279"/>
                      <a:pt x="315" y="279"/>
                    </a:cubicBezTo>
                    <a:cubicBezTo>
                      <a:pt x="185" y="280"/>
                      <a:pt x="0" y="522"/>
                      <a:pt x="0" y="522"/>
                    </a:cubicBezTo>
                    <a:lnTo>
                      <a:pt x="161" y="0"/>
                    </a:lnTo>
                    <a:close/>
                  </a:path>
                </a:pathLst>
              </a:custGeom>
              <a:solidFill>
                <a:srgbClr val="FF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en-GB" sz="1799" kern="0">
                  <a:solidFill>
                    <a:sysClr val="windowText" lastClr="000000"/>
                  </a:solidFill>
                  <a:ea typeface="FUJI-新ゴ M" panose="020B0500000000000000" pitchFamily="50" charset="-128"/>
                </a:endParaRPr>
              </a:p>
            </p:txBody>
          </p:sp>
          <p:sp>
            <p:nvSpPr>
              <p:cNvPr id="43" name="Freeform 76"/>
              <p:cNvSpPr>
                <a:spLocks/>
              </p:cNvSpPr>
              <p:nvPr userDrawn="1"/>
            </p:nvSpPr>
            <p:spPr bwMode="gray">
              <a:xfrm>
                <a:off x="8733748" y="399953"/>
                <a:ext cx="169788" cy="206759"/>
              </a:xfrm>
              <a:custGeom>
                <a:avLst/>
                <a:gdLst/>
                <a:ahLst/>
                <a:cxnLst>
                  <a:cxn ang="0">
                    <a:pos x="1420" y="0"/>
                  </a:cxn>
                  <a:cxn ang="0">
                    <a:pos x="2219" y="0"/>
                  </a:cxn>
                  <a:cxn ang="0">
                    <a:pos x="2048" y="234"/>
                  </a:cxn>
                  <a:cxn ang="0">
                    <a:pos x="2048" y="1840"/>
                  </a:cxn>
                  <a:cxn ang="0">
                    <a:pos x="1131" y="2693"/>
                  </a:cxn>
                  <a:cxn ang="0">
                    <a:pos x="176" y="1840"/>
                  </a:cxn>
                  <a:cxn ang="0">
                    <a:pos x="176" y="234"/>
                  </a:cxn>
                  <a:cxn ang="0">
                    <a:pos x="0" y="0"/>
                  </a:cxn>
                  <a:cxn ang="0">
                    <a:pos x="821" y="0"/>
                  </a:cxn>
                  <a:cxn ang="0">
                    <a:pos x="638" y="234"/>
                  </a:cxn>
                  <a:cxn ang="0">
                    <a:pos x="638" y="1840"/>
                  </a:cxn>
                  <a:cxn ang="0">
                    <a:pos x="1131" y="2406"/>
                  </a:cxn>
                  <a:cxn ang="0">
                    <a:pos x="1601" y="1840"/>
                  </a:cxn>
                  <a:cxn ang="0">
                    <a:pos x="1601" y="234"/>
                  </a:cxn>
                  <a:cxn ang="0">
                    <a:pos x="1420" y="0"/>
                  </a:cxn>
                </a:cxnLst>
                <a:rect l="0" t="0" r="r" b="b"/>
                <a:pathLst>
                  <a:path w="2219" h="2693">
                    <a:moveTo>
                      <a:pt x="1420" y="0"/>
                    </a:moveTo>
                    <a:cubicBezTo>
                      <a:pt x="2219" y="0"/>
                      <a:pt x="2219" y="0"/>
                      <a:pt x="2219" y="0"/>
                    </a:cubicBezTo>
                    <a:cubicBezTo>
                      <a:pt x="2219" y="0"/>
                      <a:pt x="2048" y="91"/>
                      <a:pt x="2048" y="234"/>
                    </a:cubicBezTo>
                    <a:cubicBezTo>
                      <a:pt x="2048" y="1840"/>
                      <a:pt x="2048" y="1840"/>
                      <a:pt x="2048" y="1840"/>
                    </a:cubicBezTo>
                    <a:cubicBezTo>
                      <a:pt x="2047" y="2492"/>
                      <a:pt x="1506" y="2693"/>
                      <a:pt x="1131" y="2693"/>
                    </a:cubicBezTo>
                    <a:cubicBezTo>
                      <a:pt x="759" y="2693"/>
                      <a:pt x="175" y="2490"/>
                      <a:pt x="176" y="1840"/>
                    </a:cubicBezTo>
                    <a:cubicBezTo>
                      <a:pt x="176" y="234"/>
                      <a:pt x="176" y="234"/>
                      <a:pt x="176" y="234"/>
                    </a:cubicBezTo>
                    <a:cubicBezTo>
                      <a:pt x="176" y="91"/>
                      <a:pt x="0" y="0"/>
                      <a:pt x="0" y="0"/>
                    </a:cubicBezTo>
                    <a:cubicBezTo>
                      <a:pt x="821" y="0"/>
                      <a:pt x="821" y="0"/>
                      <a:pt x="821" y="0"/>
                    </a:cubicBezTo>
                    <a:cubicBezTo>
                      <a:pt x="821" y="0"/>
                      <a:pt x="638" y="88"/>
                      <a:pt x="638" y="234"/>
                    </a:cubicBezTo>
                    <a:cubicBezTo>
                      <a:pt x="638" y="1840"/>
                      <a:pt x="638" y="1840"/>
                      <a:pt x="638" y="1840"/>
                    </a:cubicBezTo>
                    <a:cubicBezTo>
                      <a:pt x="638" y="2182"/>
                      <a:pt x="865" y="2406"/>
                      <a:pt x="1131" y="2406"/>
                    </a:cubicBezTo>
                    <a:cubicBezTo>
                      <a:pt x="1397" y="2406"/>
                      <a:pt x="1600" y="2173"/>
                      <a:pt x="1601" y="1840"/>
                    </a:cubicBezTo>
                    <a:cubicBezTo>
                      <a:pt x="1601" y="234"/>
                      <a:pt x="1601" y="234"/>
                      <a:pt x="1601" y="234"/>
                    </a:cubicBezTo>
                    <a:cubicBezTo>
                      <a:pt x="1601" y="91"/>
                      <a:pt x="1420" y="0"/>
                      <a:pt x="1420" y="0"/>
                    </a:cubicBezTo>
                    <a:close/>
                  </a:path>
                </a:pathLst>
              </a:custGeom>
              <a:solidFill>
                <a:srgbClr val="FF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en-GB" sz="1799" kern="0">
                  <a:solidFill>
                    <a:sysClr val="windowText" lastClr="000000"/>
                  </a:solidFill>
                  <a:ea typeface="FUJI-新ゴ M" panose="020B0500000000000000" pitchFamily="50" charset="-128"/>
                </a:endParaRPr>
              </a:p>
            </p:txBody>
          </p:sp>
          <p:sp>
            <p:nvSpPr>
              <p:cNvPr id="44" name="Freeform 77"/>
              <p:cNvSpPr>
                <a:spLocks/>
              </p:cNvSpPr>
              <p:nvPr userDrawn="1"/>
            </p:nvSpPr>
            <p:spPr bwMode="gray">
              <a:xfrm>
                <a:off x="8138119" y="399953"/>
                <a:ext cx="171158" cy="206759"/>
              </a:xfrm>
              <a:custGeom>
                <a:avLst/>
                <a:gdLst/>
                <a:ahLst/>
                <a:cxnLst>
                  <a:cxn ang="0">
                    <a:pos x="1427" y="0"/>
                  </a:cxn>
                  <a:cxn ang="0">
                    <a:pos x="2240" y="0"/>
                  </a:cxn>
                  <a:cxn ang="0">
                    <a:pos x="2068" y="237"/>
                  </a:cxn>
                  <a:cxn ang="0">
                    <a:pos x="2067" y="1838"/>
                  </a:cxn>
                  <a:cxn ang="0">
                    <a:pos x="1122" y="2700"/>
                  </a:cxn>
                  <a:cxn ang="0">
                    <a:pos x="166" y="1838"/>
                  </a:cxn>
                  <a:cxn ang="0">
                    <a:pos x="166" y="237"/>
                  </a:cxn>
                  <a:cxn ang="0">
                    <a:pos x="0" y="0"/>
                  </a:cxn>
                  <a:cxn ang="0">
                    <a:pos x="821" y="0"/>
                  </a:cxn>
                  <a:cxn ang="0">
                    <a:pos x="631" y="237"/>
                  </a:cxn>
                  <a:cxn ang="0">
                    <a:pos x="630" y="1838"/>
                  </a:cxn>
                  <a:cxn ang="0">
                    <a:pos x="1122" y="2413"/>
                  </a:cxn>
                  <a:cxn ang="0">
                    <a:pos x="1602" y="1838"/>
                  </a:cxn>
                  <a:cxn ang="0">
                    <a:pos x="1603" y="237"/>
                  </a:cxn>
                  <a:cxn ang="0">
                    <a:pos x="1427" y="0"/>
                  </a:cxn>
                </a:cxnLst>
                <a:rect l="0" t="0" r="r" b="b"/>
                <a:pathLst>
                  <a:path w="2240" h="2700">
                    <a:moveTo>
                      <a:pt x="1427" y="0"/>
                    </a:moveTo>
                    <a:cubicBezTo>
                      <a:pt x="2240" y="0"/>
                      <a:pt x="2240" y="0"/>
                      <a:pt x="2240" y="0"/>
                    </a:cubicBezTo>
                    <a:cubicBezTo>
                      <a:pt x="2240" y="0"/>
                      <a:pt x="2068" y="95"/>
                      <a:pt x="2068" y="237"/>
                    </a:cubicBezTo>
                    <a:cubicBezTo>
                      <a:pt x="2068" y="238"/>
                      <a:pt x="2067" y="1838"/>
                      <a:pt x="2067" y="1838"/>
                    </a:cubicBezTo>
                    <a:cubicBezTo>
                      <a:pt x="2067" y="2494"/>
                      <a:pt x="1501" y="2700"/>
                      <a:pt x="1122" y="2700"/>
                    </a:cubicBezTo>
                    <a:cubicBezTo>
                      <a:pt x="750" y="2700"/>
                      <a:pt x="166" y="2491"/>
                      <a:pt x="166" y="1838"/>
                    </a:cubicBezTo>
                    <a:cubicBezTo>
                      <a:pt x="166" y="237"/>
                      <a:pt x="166" y="237"/>
                      <a:pt x="166" y="237"/>
                    </a:cubicBezTo>
                    <a:cubicBezTo>
                      <a:pt x="166" y="94"/>
                      <a:pt x="0" y="0"/>
                      <a:pt x="0" y="0"/>
                    </a:cubicBezTo>
                    <a:cubicBezTo>
                      <a:pt x="821" y="0"/>
                      <a:pt x="821" y="0"/>
                      <a:pt x="821" y="0"/>
                    </a:cubicBezTo>
                    <a:cubicBezTo>
                      <a:pt x="821" y="0"/>
                      <a:pt x="631" y="94"/>
                      <a:pt x="631" y="237"/>
                    </a:cubicBezTo>
                    <a:cubicBezTo>
                      <a:pt x="630" y="1838"/>
                      <a:pt x="630" y="1838"/>
                      <a:pt x="630" y="1838"/>
                    </a:cubicBezTo>
                    <a:cubicBezTo>
                      <a:pt x="630" y="2178"/>
                      <a:pt x="856" y="2412"/>
                      <a:pt x="1122" y="2413"/>
                    </a:cubicBezTo>
                    <a:cubicBezTo>
                      <a:pt x="1388" y="2414"/>
                      <a:pt x="1602" y="2174"/>
                      <a:pt x="1602" y="1838"/>
                    </a:cubicBezTo>
                    <a:cubicBezTo>
                      <a:pt x="1603" y="237"/>
                      <a:pt x="1603" y="237"/>
                      <a:pt x="1603" y="237"/>
                    </a:cubicBezTo>
                    <a:cubicBezTo>
                      <a:pt x="1603" y="94"/>
                      <a:pt x="1427" y="0"/>
                      <a:pt x="1427" y="0"/>
                    </a:cubicBezTo>
                    <a:close/>
                  </a:path>
                </a:pathLst>
              </a:custGeom>
              <a:solidFill>
                <a:srgbClr val="FF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en-GB" sz="1799" kern="0">
                  <a:solidFill>
                    <a:sysClr val="windowText" lastClr="000000"/>
                  </a:solidFill>
                  <a:ea typeface="FUJI-新ゴ M" panose="020B0500000000000000" pitchFamily="50" charset="-128"/>
                </a:endParaRPr>
              </a:p>
            </p:txBody>
          </p:sp>
          <p:sp>
            <p:nvSpPr>
              <p:cNvPr id="45" name="Freeform 78"/>
              <p:cNvSpPr>
                <a:spLocks/>
              </p:cNvSpPr>
              <p:nvPr userDrawn="1"/>
            </p:nvSpPr>
            <p:spPr bwMode="gray">
              <a:xfrm>
                <a:off x="8602299" y="395845"/>
                <a:ext cx="130080" cy="210866"/>
              </a:xfrm>
              <a:custGeom>
                <a:avLst/>
                <a:gdLst/>
                <a:ahLst/>
                <a:cxnLst>
                  <a:cxn ang="0">
                    <a:pos x="1467" y="479"/>
                  </a:cxn>
                  <a:cxn ang="0">
                    <a:pos x="1019" y="276"/>
                  </a:cxn>
                  <a:cxn ang="0">
                    <a:pos x="504" y="677"/>
                  </a:cxn>
                  <a:cxn ang="0">
                    <a:pos x="995" y="1174"/>
                  </a:cxn>
                  <a:cxn ang="0">
                    <a:pos x="1705" y="1974"/>
                  </a:cxn>
                  <a:cxn ang="0">
                    <a:pos x="651" y="2755"/>
                  </a:cxn>
                  <a:cxn ang="0">
                    <a:pos x="155" y="2686"/>
                  </a:cxn>
                  <a:cxn ang="0">
                    <a:pos x="0" y="2177"/>
                  </a:cxn>
                  <a:cxn ang="0">
                    <a:pos x="658" y="2466"/>
                  </a:cxn>
                  <a:cxn ang="0">
                    <a:pos x="1252" y="2030"/>
                  </a:cxn>
                  <a:cxn ang="0">
                    <a:pos x="46" y="731"/>
                  </a:cxn>
                  <a:cxn ang="0">
                    <a:pos x="973" y="0"/>
                  </a:cxn>
                  <a:cxn ang="0">
                    <a:pos x="1467" y="69"/>
                  </a:cxn>
                  <a:cxn ang="0">
                    <a:pos x="1467" y="479"/>
                  </a:cxn>
                </a:cxnLst>
                <a:rect l="0" t="0" r="r" b="b"/>
                <a:pathLst>
                  <a:path w="1707" h="2755">
                    <a:moveTo>
                      <a:pt x="1467" y="479"/>
                    </a:moveTo>
                    <a:cubicBezTo>
                      <a:pt x="1467" y="479"/>
                      <a:pt x="1352" y="277"/>
                      <a:pt x="1019" y="276"/>
                    </a:cubicBezTo>
                    <a:cubicBezTo>
                      <a:pt x="686" y="275"/>
                      <a:pt x="505" y="450"/>
                      <a:pt x="504" y="677"/>
                    </a:cubicBezTo>
                    <a:cubicBezTo>
                      <a:pt x="503" y="934"/>
                      <a:pt x="696" y="1031"/>
                      <a:pt x="995" y="1174"/>
                    </a:cubicBezTo>
                    <a:cubicBezTo>
                      <a:pt x="1279" y="1311"/>
                      <a:pt x="1707" y="1499"/>
                      <a:pt x="1705" y="1974"/>
                    </a:cubicBezTo>
                    <a:cubicBezTo>
                      <a:pt x="1704" y="2399"/>
                      <a:pt x="1327" y="2755"/>
                      <a:pt x="651" y="2755"/>
                    </a:cubicBezTo>
                    <a:cubicBezTo>
                      <a:pt x="442" y="2754"/>
                      <a:pt x="155" y="2686"/>
                      <a:pt x="155" y="2686"/>
                    </a:cubicBezTo>
                    <a:cubicBezTo>
                      <a:pt x="0" y="2177"/>
                      <a:pt x="0" y="2177"/>
                      <a:pt x="0" y="2177"/>
                    </a:cubicBezTo>
                    <a:cubicBezTo>
                      <a:pt x="143" y="2316"/>
                      <a:pt x="397" y="2466"/>
                      <a:pt x="658" y="2466"/>
                    </a:cubicBezTo>
                    <a:cubicBezTo>
                      <a:pt x="929" y="2466"/>
                      <a:pt x="1252" y="2298"/>
                      <a:pt x="1252" y="2030"/>
                    </a:cubicBezTo>
                    <a:cubicBezTo>
                      <a:pt x="1252" y="1512"/>
                      <a:pt x="46" y="1598"/>
                      <a:pt x="46" y="731"/>
                    </a:cubicBezTo>
                    <a:cubicBezTo>
                      <a:pt x="46" y="433"/>
                      <a:pt x="254" y="0"/>
                      <a:pt x="973" y="0"/>
                    </a:cubicBezTo>
                    <a:cubicBezTo>
                      <a:pt x="1207" y="0"/>
                      <a:pt x="1467" y="69"/>
                      <a:pt x="1467" y="69"/>
                    </a:cubicBezTo>
                    <a:lnTo>
                      <a:pt x="1467" y="479"/>
                    </a:lnTo>
                    <a:close/>
                  </a:path>
                </a:pathLst>
              </a:custGeom>
              <a:solidFill>
                <a:srgbClr val="FF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en-GB" sz="1799" kern="0">
                  <a:solidFill>
                    <a:sysClr val="windowText" lastClr="000000"/>
                  </a:solidFill>
                  <a:ea typeface="FUJI-新ゴ M" panose="020B0500000000000000" pitchFamily="50" charset="-128"/>
                </a:endParaRPr>
              </a:p>
            </p:txBody>
          </p:sp>
        </p:grpSp>
      </p:grpSp>
      <p:sp>
        <p:nvSpPr>
          <p:cNvPr id="14" name="スライド番号プレースホルダー 4"/>
          <p:cNvSpPr>
            <a:spLocks noGrp="1"/>
          </p:cNvSpPr>
          <p:nvPr>
            <p:ph type="sldNum" sz="quarter" idx="4"/>
          </p:nvPr>
        </p:nvSpPr>
        <p:spPr>
          <a:xfrm>
            <a:off x="4300538" y="4937189"/>
            <a:ext cx="539750" cy="201550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FUJI-新ゴ R" panose="020B0400000000000000" pitchFamily="50" charset="-128"/>
                <a:ea typeface="FUJI-新ゴ R" panose="020B0400000000000000" pitchFamily="50" charset="-128"/>
              </a:defRPr>
            </a:lvl1pPr>
          </a:lstStyle>
          <a:p>
            <a:pPr>
              <a:defRPr/>
            </a:pPr>
            <a:fld id="{0B5B02AC-72C7-48A8-B1FA-68CE81373FC9}" type="slidenum">
              <a:rPr lang="de-DE" altLang="ja-JP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840206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[LOCK]1cf3f295-09b0-41c8-882f-5758ff71600f&amp;PPTMockAddIn_LockedObject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sz="half" idx="1"/>
          </p:nvPr>
        </p:nvSpPr>
        <p:spPr bwMode="gray">
          <a:xfrm>
            <a:off x="233363" y="880793"/>
            <a:ext cx="4246562" cy="3858020"/>
          </a:xfr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 bwMode="gray">
          <a:xfrm>
            <a:off x="4632326" y="880793"/>
            <a:ext cx="4246563" cy="3858020"/>
          </a:xfr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altLang="ja-JP"/>
              <a:t>Copyright 2020 FUJITSU LIMITED</a:t>
            </a:r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fld id="{34A46DBC-526E-4019-B245-D43DF9034DC2}" type="slidenum">
              <a:rPr lang="de-DE" altLang="ja-JP"/>
              <a:pPr/>
              <a:t>‹#›</a:t>
            </a:fld>
            <a:endParaRPr lang="de-DE" altLang="ja-JP"/>
          </a:p>
        </p:txBody>
      </p:sp>
      <p:pic>
        <p:nvPicPr>
          <p:cNvPr id="7" name="図 6" descr="&amp;PPTMockAddIn_LockedObject">
            <a:extLst>
              <a:ext uri="{FF2B5EF4-FFF2-40B4-BE49-F238E27FC236}">
                <a16:creationId xmlns:a16="http://schemas.microsoft.com/office/drawing/2014/main" id="{12C29C4A-87FE-4991-A1EC-9D1DE8F2A54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11" name="&amp;PPTMockAddIn_LockedObject">
            <a:extLst>
              <a:ext uri="{FF2B5EF4-FFF2-40B4-BE49-F238E27FC236}">
                <a16:creationId xmlns:a16="http://schemas.microsoft.com/office/drawing/2014/main" id="{0CD51488-B528-414B-B318-3251BE25C01B}"/>
              </a:ext>
            </a:extLst>
          </p:cNvPr>
          <p:cNvPicPr>
            <a:picLocks noChangeAspect="1"/>
          </p:cNvPicPr>
          <p:nvPr userDrawn="1"/>
        </p:nvPicPr>
        <p:blipFill>
          <a:blip r:embed="rId3" r:link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65100"/>
            <a:ext cx="1562833" cy="165100"/>
          </a:xfrm>
          <a:prstGeom prst="rect">
            <a:avLst/>
          </a:prstGeom>
        </p:spPr>
      </p:pic>
      <p:sp>
        <p:nvSpPr>
          <p:cNvPr id="9" name="正方形/長方形 8" descr="&amp;PPTMockAddIn_LockedObject">
            <a:extLst>
              <a:ext uri="{FF2B5EF4-FFF2-40B4-BE49-F238E27FC236}">
                <a16:creationId xmlns:a16="http://schemas.microsoft.com/office/drawing/2014/main" id="{B17057B1-DC63-4E21-AFDB-842A856BC47C}"/>
              </a:ext>
            </a:extLst>
          </p:cNvPr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rgbClr val="000000">
              <a:alpha val="30196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ctr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ja-JP" altLang="en-US" sz="1600" b="0" i="0" u="none" strike="noStrike" cap="none" normalizeH="0" baseline="0">
              <a:ln>
                <a:noFill/>
              </a:ln>
              <a:effectLst/>
              <a:latin typeface="Arial" charset="0"/>
              <a:ea typeface="ＭＳ Ｐゴシック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46770599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kumimoji="1" lang="en-US" altLang="ja-JP"/>
              <a:t>© 2021 Fujitsu Limited</a:t>
            </a:r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4302000" y="4878000"/>
            <a:ext cx="540000" cy="122400"/>
          </a:xfrm>
          <a:prstGeom prst="rect">
            <a:avLst/>
          </a:prstGeom>
        </p:spPr>
        <p:txBody>
          <a:bodyPr/>
          <a:lstStyle/>
          <a:p>
            <a:fld id="{4D029D89-7B63-4C94-AD4D-2E4D6BB83637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216500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図 2">
            <a:extLst>
              <a:ext uri="{FF2B5EF4-FFF2-40B4-BE49-F238E27FC236}">
                <a16:creationId xmlns:a16="http://schemas.microsoft.com/office/drawing/2014/main" id="{5F6C4905-9CC5-4C8D-803C-5F137C0C75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69692" y="0"/>
            <a:ext cx="4574308" cy="5143499"/>
          </a:xfrm>
          <a:prstGeom prst="rect">
            <a:avLst/>
          </a:prstGeom>
        </p:spPr>
      </p:pic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kumimoji="1" lang="en-US" altLang="ja-JP"/>
              <a:t>© 2021 Fujitsu Limited</a:t>
            </a:r>
            <a:endParaRPr kumimoji="1" lang="ja-JP" altLang="en-US"/>
          </a:p>
        </p:txBody>
      </p:sp>
      <p:pic>
        <p:nvPicPr>
          <p:cNvPr id="20" name="図 19">
            <a:extLst>
              <a:ext uri="{FF2B5EF4-FFF2-40B4-BE49-F238E27FC236}">
                <a16:creationId xmlns:a16="http://schemas.microsoft.com/office/drawing/2014/main" id="{8B2F974C-2586-44F6-B521-85BC5FA4904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04888" y="1298597"/>
            <a:ext cx="3275999" cy="2545521"/>
          </a:xfrm>
          <a:prstGeom prst="rect">
            <a:avLst/>
          </a:prstGeom>
        </p:spPr>
      </p:pic>
      <p:grpSp>
        <p:nvGrpSpPr>
          <p:cNvPr id="19" name="Group 22" descr="Fujitsu">
            <a:extLst>
              <a:ext uri="{FF2B5EF4-FFF2-40B4-BE49-F238E27FC236}">
                <a16:creationId xmlns:a16="http://schemas.microsoft.com/office/drawing/2014/main" id="{30D807CB-9C19-40CB-9ADA-F5FD7669522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940675" y="242808"/>
            <a:ext cx="968769" cy="472173"/>
            <a:chOff x="8012114" y="249161"/>
            <a:chExt cx="892174" cy="434841"/>
          </a:xfrm>
        </p:grpSpPr>
        <p:sp>
          <p:nvSpPr>
            <p:cNvPr id="21" name="Freeform 34">
              <a:extLst>
                <a:ext uri="{FF2B5EF4-FFF2-40B4-BE49-F238E27FC236}">
                  <a16:creationId xmlns:a16="http://schemas.microsoft.com/office/drawing/2014/main" id="{8877A15F-B670-4519-AB23-C001B82B9FBA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307389" y="249161"/>
              <a:ext cx="179387" cy="139657"/>
            </a:xfrm>
            <a:custGeom>
              <a:avLst/>
              <a:gdLst>
                <a:gd name="T0" fmla="*/ 961 w 2365"/>
                <a:gd name="T1" fmla="*/ 764 h 1825"/>
                <a:gd name="T2" fmla="*/ 599 w 2365"/>
                <a:gd name="T3" fmla="*/ 642 h 1825"/>
                <a:gd name="T4" fmla="*/ 1 w 2365"/>
                <a:gd name="T5" fmla="*/ 1235 h 1825"/>
                <a:gd name="T6" fmla="*/ 599 w 2365"/>
                <a:gd name="T7" fmla="*/ 1825 h 1825"/>
                <a:gd name="T8" fmla="*/ 1053 w 2365"/>
                <a:gd name="T9" fmla="*/ 1619 h 1825"/>
                <a:gd name="T10" fmla="*/ 1053 w 2365"/>
                <a:gd name="T11" fmla="*/ 1293 h 1825"/>
                <a:gd name="T12" fmla="*/ 771 w 2365"/>
                <a:gd name="T13" fmla="*/ 1568 h 1825"/>
                <a:gd name="T14" fmla="*/ 599 w 2365"/>
                <a:gd name="T15" fmla="*/ 1604 h 1825"/>
                <a:gd name="T16" fmla="*/ 225 w 2365"/>
                <a:gd name="T17" fmla="*/ 1235 h 1825"/>
                <a:gd name="T18" fmla="*/ 599 w 2365"/>
                <a:gd name="T19" fmla="*/ 863 h 1825"/>
                <a:gd name="T20" fmla="*/ 861 w 2365"/>
                <a:gd name="T21" fmla="*/ 972 h 1825"/>
                <a:gd name="T22" fmla="*/ 1093 w 2365"/>
                <a:gd name="T23" fmla="*/ 1239 h 1825"/>
                <a:gd name="T24" fmla="*/ 1630 w 2365"/>
                <a:gd name="T25" fmla="*/ 1473 h 1825"/>
                <a:gd name="T26" fmla="*/ 2365 w 2365"/>
                <a:gd name="T27" fmla="*/ 741 h 1825"/>
                <a:gd name="T28" fmla="*/ 1630 w 2365"/>
                <a:gd name="T29" fmla="*/ 0 h 1825"/>
                <a:gd name="T30" fmla="*/ 1053 w 2365"/>
                <a:gd name="T31" fmla="*/ 295 h 1825"/>
                <a:gd name="T32" fmla="*/ 1053 w 2365"/>
                <a:gd name="T33" fmla="*/ 735 h 1825"/>
                <a:gd name="T34" fmla="*/ 1630 w 2365"/>
                <a:gd name="T35" fmla="*/ 232 h 1825"/>
                <a:gd name="T36" fmla="*/ 2134 w 2365"/>
                <a:gd name="T37" fmla="*/ 741 h 1825"/>
                <a:gd name="T38" fmla="*/ 1630 w 2365"/>
                <a:gd name="T39" fmla="*/ 1245 h 1825"/>
                <a:gd name="T40" fmla="*/ 1303 w 2365"/>
                <a:gd name="T41" fmla="*/ 1125 h 1825"/>
                <a:gd name="T42" fmla="*/ 961 w 2365"/>
                <a:gd name="T43" fmla="*/ 764 h 18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65" h="1825">
                  <a:moveTo>
                    <a:pt x="961" y="764"/>
                  </a:moveTo>
                  <a:cubicBezTo>
                    <a:pt x="875" y="688"/>
                    <a:pt x="736" y="643"/>
                    <a:pt x="599" y="642"/>
                  </a:cubicBezTo>
                  <a:cubicBezTo>
                    <a:pt x="270" y="641"/>
                    <a:pt x="2" y="900"/>
                    <a:pt x="1" y="1235"/>
                  </a:cubicBezTo>
                  <a:cubicBezTo>
                    <a:pt x="0" y="1563"/>
                    <a:pt x="270" y="1824"/>
                    <a:pt x="599" y="1825"/>
                  </a:cubicBezTo>
                  <a:cubicBezTo>
                    <a:pt x="783" y="1825"/>
                    <a:pt x="943" y="1751"/>
                    <a:pt x="1053" y="1619"/>
                  </a:cubicBezTo>
                  <a:cubicBezTo>
                    <a:pt x="1053" y="1293"/>
                    <a:pt x="1053" y="1293"/>
                    <a:pt x="1053" y="1293"/>
                  </a:cubicBezTo>
                  <a:cubicBezTo>
                    <a:pt x="994" y="1394"/>
                    <a:pt x="877" y="1524"/>
                    <a:pt x="771" y="1568"/>
                  </a:cubicBezTo>
                  <a:cubicBezTo>
                    <a:pt x="717" y="1590"/>
                    <a:pt x="662" y="1604"/>
                    <a:pt x="599" y="1604"/>
                  </a:cubicBezTo>
                  <a:cubicBezTo>
                    <a:pt x="394" y="1604"/>
                    <a:pt x="225" y="1445"/>
                    <a:pt x="225" y="1235"/>
                  </a:cubicBezTo>
                  <a:cubicBezTo>
                    <a:pt x="225" y="1041"/>
                    <a:pt x="380" y="862"/>
                    <a:pt x="599" y="863"/>
                  </a:cubicBezTo>
                  <a:cubicBezTo>
                    <a:pt x="701" y="863"/>
                    <a:pt x="793" y="905"/>
                    <a:pt x="861" y="972"/>
                  </a:cubicBezTo>
                  <a:cubicBezTo>
                    <a:pt x="931" y="1040"/>
                    <a:pt x="1041" y="1183"/>
                    <a:pt x="1093" y="1239"/>
                  </a:cubicBezTo>
                  <a:cubicBezTo>
                    <a:pt x="1227" y="1383"/>
                    <a:pt x="1419" y="1473"/>
                    <a:pt x="1630" y="1473"/>
                  </a:cubicBezTo>
                  <a:cubicBezTo>
                    <a:pt x="2036" y="1474"/>
                    <a:pt x="2365" y="1146"/>
                    <a:pt x="2365" y="741"/>
                  </a:cubicBezTo>
                  <a:cubicBezTo>
                    <a:pt x="2365" y="336"/>
                    <a:pt x="2035" y="0"/>
                    <a:pt x="1630" y="0"/>
                  </a:cubicBezTo>
                  <a:cubicBezTo>
                    <a:pt x="1395" y="0"/>
                    <a:pt x="1187" y="122"/>
                    <a:pt x="1053" y="295"/>
                  </a:cubicBezTo>
                  <a:cubicBezTo>
                    <a:pt x="1053" y="735"/>
                    <a:pt x="1053" y="735"/>
                    <a:pt x="1053" y="735"/>
                  </a:cubicBezTo>
                  <a:cubicBezTo>
                    <a:pt x="1155" y="455"/>
                    <a:pt x="1340" y="232"/>
                    <a:pt x="1630" y="232"/>
                  </a:cubicBezTo>
                  <a:cubicBezTo>
                    <a:pt x="1909" y="232"/>
                    <a:pt x="2135" y="463"/>
                    <a:pt x="2134" y="741"/>
                  </a:cubicBezTo>
                  <a:cubicBezTo>
                    <a:pt x="2134" y="1020"/>
                    <a:pt x="1909" y="1246"/>
                    <a:pt x="1630" y="1245"/>
                  </a:cubicBezTo>
                  <a:cubicBezTo>
                    <a:pt x="1506" y="1244"/>
                    <a:pt x="1391" y="1199"/>
                    <a:pt x="1303" y="1125"/>
                  </a:cubicBezTo>
                  <a:cubicBezTo>
                    <a:pt x="1194" y="1040"/>
                    <a:pt x="1074" y="860"/>
                    <a:pt x="961" y="76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2" name="Freeform 35">
              <a:extLst>
                <a:ext uri="{FF2B5EF4-FFF2-40B4-BE49-F238E27FC236}">
                  <a16:creationId xmlns:a16="http://schemas.microsoft.com/office/drawing/2014/main" id="{DA8B768A-A97D-490B-93AE-5E275BCA6988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012114" y="401514"/>
              <a:ext cx="123825" cy="201551"/>
            </a:xfrm>
            <a:custGeom>
              <a:avLst/>
              <a:gdLst>
                <a:gd name="T0" fmla="*/ 0 w 1624"/>
                <a:gd name="T1" fmla="*/ 0 h 2651"/>
                <a:gd name="T2" fmla="*/ 1624 w 1624"/>
                <a:gd name="T3" fmla="*/ 0 h 2651"/>
                <a:gd name="T4" fmla="*/ 1624 w 1624"/>
                <a:gd name="T5" fmla="*/ 452 h 2651"/>
                <a:gd name="T6" fmla="*/ 1365 w 1624"/>
                <a:gd name="T7" fmla="*/ 273 h 2651"/>
                <a:gd name="T8" fmla="*/ 613 w 1624"/>
                <a:gd name="T9" fmla="*/ 273 h 2651"/>
                <a:gd name="T10" fmla="*/ 613 w 1624"/>
                <a:gd name="T11" fmla="*/ 1053 h 2651"/>
                <a:gd name="T12" fmla="*/ 1428 w 1624"/>
                <a:gd name="T13" fmla="*/ 1053 h 2651"/>
                <a:gd name="T14" fmla="*/ 1428 w 1624"/>
                <a:gd name="T15" fmla="*/ 1467 h 2651"/>
                <a:gd name="T16" fmla="*/ 1205 w 1624"/>
                <a:gd name="T17" fmla="*/ 1335 h 2651"/>
                <a:gd name="T18" fmla="*/ 613 w 1624"/>
                <a:gd name="T19" fmla="*/ 1335 h 2651"/>
                <a:gd name="T20" fmla="*/ 613 w 1624"/>
                <a:gd name="T21" fmla="*/ 2401 h 2651"/>
                <a:gd name="T22" fmla="*/ 784 w 1624"/>
                <a:gd name="T23" fmla="*/ 2651 h 2651"/>
                <a:gd name="T24" fmla="*/ 11 w 1624"/>
                <a:gd name="T25" fmla="*/ 2651 h 2651"/>
                <a:gd name="T26" fmla="*/ 173 w 1624"/>
                <a:gd name="T27" fmla="*/ 2401 h 2651"/>
                <a:gd name="T28" fmla="*/ 173 w 1624"/>
                <a:gd name="T29" fmla="*/ 278 h 2651"/>
                <a:gd name="T30" fmla="*/ 0 w 1624"/>
                <a:gd name="T31" fmla="*/ 0 h 2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624" h="2651">
                  <a:moveTo>
                    <a:pt x="0" y="0"/>
                  </a:moveTo>
                  <a:cubicBezTo>
                    <a:pt x="1624" y="0"/>
                    <a:pt x="1624" y="0"/>
                    <a:pt x="1624" y="0"/>
                  </a:cubicBezTo>
                  <a:cubicBezTo>
                    <a:pt x="1624" y="452"/>
                    <a:pt x="1624" y="452"/>
                    <a:pt x="1624" y="452"/>
                  </a:cubicBezTo>
                  <a:cubicBezTo>
                    <a:pt x="1624" y="452"/>
                    <a:pt x="1540" y="274"/>
                    <a:pt x="1365" y="273"/>
                  </a:cubicBezTo>
                  <a:cubicBezTo>
                    <a:pt x="613" y="273"/>
                    <a:pt x="613" y="273"/>
                    <a:pt x="613" y="273"/>
                  </a:cubicBezTo>
                  <a:cubicBezTo>
                    <a:pt x="613" y="1053"/>
                    <a:pt x="613" y="1053"/>
                    <a:pt x="613" y="1053"/>
                  </a:cubicBezTo>
                  <a:cubicBezTo>
                    <a:pt x="1428" y="1053"/>
                    <a:pt x="1428" y="1053"/>
                    <a:pt x="1428" y="1053"/>
                  </a:cubicBezTo>
                  <a:cubicBezTo>
                    <a:pt x="1428" y="1467"/>
                    <a:pt x="1428" y="1467"/>
                    <a:pt x="1428" y="1467"/>
                  </a:cubicBezTo>
                  <a:cubicBezTo>
                    <a:pt x="1428" y="1467"/>
                    <a:pt x="1402" y="1335"/>
                    <a:pt x="1205" y="1335"/>
                  </a:cubicBezTo>
                  <a:cubicBezTo>
                    <a:pt x="613" y="1335"/>
                    <a:pt x="613" y="1335"/>
                    <a:pt x="613" y="1335"/>
                  </a:cubicBezTo>
                  <a:cubicBezTo>
                    <a:pt x="613" y="2401"/>
                    <a:pt x="613" y="2401"/>
                    <a:pt x="613" y="2401"/>
                  </a:cubicBezTo>
                  <a:cubicBezTo>
                    <a:pt x="613" y="2558"/>
                    <a:pt x="784" y="2651"/>
                    <a:pt x="784" y="2651"/>
                  </a:cubicBezTo>
                  <a:cubicBezTo>
                    <a:pt x="11" y="2651"/>
                    <a:pt x="11" y="2651"/>
                    <a:pt x="11" y="2651"/>
                  </a:cubicBezTo>
                  <a:cubicBezTo>
                    <a:pt x="11" y="2651"/>
                    <a:pt x="173" y="2569"/>
                    <a:pt x="173" y="2401"/>
                  </a:cubicBezTo>
                  <a:cubicBezTo>
                    <a:pt x="173" y="278"/>
                    <a:pt x="173" y="278"/>
                    <a:pt x="173" y="278"/>
                  </a:cubicBezTo>
                  <a:cubicBezTo>
                    <a:pt x="173" y="9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4" name="Freeform 36">
              <a:extLst>
                <a:ext uri="{FF2B5EF4-FFF2-40B4-BE49-F238E27FC236}">
                  <a16:creationId xmlns:a16="http://schemas.microsoft.com/office/drawing/2014/main" id="{4B37A482-6532-4170-98AF-22DF8FB9C97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305801" y="401514"/>
              <a:ext cx="80962" cy="282488"/>
            </a:xfrm>
            <a:custGeom>
              <a:avLst/>
              <a:gdLst>
                <a:gd name="T0" fmla="*/ 246 w 1072"/>
                <a:gd name="T1" fmla="*/ 0 h 3696"/>
                <a:gd name="T2" fmla="*/ 1072 w 1072"/>
                <a:gd name="T3" fmla="*/ 0 h 3696"/>
                <a:gd name="T4" fmla="*/ 887 w 1072"/>
                <a:gd name="T5" fmla="*/ 230 h 3696"/>
                <a:gd name="T6" fmla="*/ 887 w 1072"/>
                <a:gd name="T7" fmla="*/ 2717 h 3696"/>
                <a:gd name="T8" fmla="*/ 0 w 1072"/>
                <a:gd name="T9" fmla="*/ 3693 h 3696"/>
                <a:gd name="T10" fmla="*/ 423 w 1072"/>
                <a:gd name="T11" fmla="*/ 2717 h 3696"/>
                <a:gd name="T12" fmla="*/ 423 w 1072"/>
                <a:gd name="T13" fmla="*/ 230 h 3696"/>
                <a:gd name="T14" fmla="*/ 246 w 1072"/>
                <a:gd name="T15" fmla="*/ 0 h 36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72" h="3696">
                  <a:moveTo>
                    <a:pt x="246" y="0"/>
                  </a:moveTo>
                  <a:cubicBezTo>
                    <a:pt x="1072" y="0"/>
                    <a:pt x="1072" y="0"/>
                    <a:pt x="1072" y="0"/>
                  </a:cubicBezTo>
                  <a:cubicBezTo>
                    <a:pt x="1072" y="0"/>
                    <a:pt x="887" y="87"/>
                    <a:pt x="887" y="230"/>
                  </a:cubicBezTo>
                  <a:cubicBezTo>
                    <a:pt x="887" y="2717"/>
                    <a:pt x="887" y="2717"/>
                    <a:pt x="887" y="2717"/>
                  </a:cubicBezTo>
                  <a:cubicBezTo>
                    <a:pt x="887" y="3558"/>
                    <a:pt x="44" y="3696"/>
                    <a:pt x="0" y="3693"/>
                  </a:cubicBezTo>
                  <a:cubicBezTo>
                    <a:pt x="72" y="3647"/>
                    <a:pt x="422" y="3349"/>
                    <a:pt x="423" y="2717"/>
                  </a:cubicBezTo>
                  <a:cubicBezTo>
                    <a:pt x="423" y="230"/>
                    <a:pt x="423" y="230"/>
                    <a:pt x="423" y="230"/>
                  </a:cubicBezTo>
                  <a:cubicBezTo>
                    <a:pt x="424" y="96"/>
                    <a:pt x="246" y="0"/>
                    <a:pt x="24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5" name="Freeform 37">
              <a:extLst>
                <a:ext uri="{FF2B5EF4-FFF2-40B4-BE49-F238E27FC236}">
                  <a16:creationId xmlns:a16="http://schemas.microsoft.com/office/drawing/2014/main" id="{30D79590-2C60-41D2-B7FF-F45AC7FE2B1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396289" y="401514"/>
              <a:ext cx="63500" cy="201551"/>
            </a:xfrm>
            <a:custGeom>
              <a:avLst/>
              <a:gdLst>
                <a:gd name="T0" fmla="*/ 0 w 828"/>
                <a:gd name="T1" fmla="*/ 0 h 2653"/>
                <a:gd name="T2" fmla="*/ 828 w 828"/>
                <a:gd name="T3" fmla="*/ 0 h 2653"/>
                <a:gd name="T4" fmla="*/ 645 w 828"/>
                <a:gd name="T5" fmla="*/ 235 h 2653"/>
                <a:gd name="T6" fmla="*/ 645 w 828"/>
                <a:gd name="T7" fmla="*/ 2401 h 2653"/>
                <a:gd name="T8" fmla="*/ 828 w 828"/>
                <a:gd name="T9" fmla="*/ 2653 h 2653"/>
                <a:gd name="T10" fmla="*/ 0 w 828"/>
                <a:gd name="T11" fmla="*/ 2653 h 2653"/>
                <a:gd name="T12" fmla="*/ 184 w 828"/>
                <a:gd name="T13" fmla="*/ 2401 h 2653"/>
                <a:gd name="T14" fmla="*/ 184 w 828"/>
                <a:gd name="T15" fmla="*/ 235 h 2653"/>
                <a:gd name="T16" fmla="*/ 0 w 828"/>
                <a:gd name="T17" fmla="*/ 0 h 26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28" h="2653">
                  <a:moveTo>
                    <a:pt x="0" y="0"/>
                  </a:moveTo>
                  <a:cubicBezTo>
                    <a:pt x="828" y="0"/>
                    <a:pt x="828" y="0"/>
                    <a:pt x="828" y="0"/>
                  </a:cubicBezTo>
                  <a:cubicBezTo>
                    <a:pt x="828" y="0"/>
                    <a:pt x="645" y="89"/>
                    <a:pt x="645" y="235"/>
                  </a:cubicBezTo>
                  <a:cubicBezTo>
                    <a:pt x="645" y="2401"/>
                    <a:pt x="645" y="2401"/>
                    <a:pt x="645" y="2401"/>
                  </a:cubicBezTo>
                  <a:cubicBezTo>
                    <a:pt x="645" y="2556"/>
                    <a:pt x="828" y="2653"/>
                    <a:pt x="828" y="2653"/>
                  </a:cubicBezTo>
                  <a:cubicBezTo>
                    <a:pt x="0" y="2653"/>
                    <a:pt x="0" y="2653"/>
                    <a:pt x="0" y="2653"/>
                  </a:cubicBezTo>
                  <a:cubicBezTo>
                    <a:pt x="0" y="2653"/>
                    <a:pt x="184" y="2557"/>
                    <a:pt x="184" y="2401"/>
                  </a:cubicBezTo>
                  <a:cubicBezTo>
                    <a:pt x="184" y="235"/>
                    <a:pt x="184" y="235"/>
                    <a:pt x="184" y="235"/>
                  </a:cubicBezTo>
                  <a:cubicBezTo>
                    <a:pt x="184" y="8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6" name="Freeform 38">
              <a:extLst>
                <a:ext uri="{FF2B5EF4-FFF2-40B4-BE49-F238E27FC236}">
                  <a16:creationId xmlns:a16="http://schemas.microsoft.com/office/drawing/2014/main" id="{0142B91E-6DB6-4543-AD78-EB25DDD078A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459789" y="401514"/>
              <a:ext cx="150812" cy="201551"/>
            </a:xfrm>
            <a:custGeom>
              <a:avLst/>
              <a:gdLst>
                <a:gd name="T0" fmla="*/ 161 w 1984"/>
                <a:gd name="T1" fmla="*/ 0 h 2651"/>
                <a:gd name="T2" fmla="*/ 1984 w 1984"/>
                <a:gd name="T3" fmla="*/ 0 h 2651"/>
                <a:gd name="T4" fmla="*/ 1829 w 1984"/>
                <a:gd name="T5" fmla="*/ 482 h 2651"/>
                <a:gd name="T6" fmla="*/ 1607 w 1984"/>
                <a:gd name="T7" fmla="*/ 279 h 2651"/>
                <a:gd name="T8" fmla="*/ 1229 w 1984"/>
                <a:gd name="T9" fmla="*/ 279 h 2651"/>
                <a:gd name="T10" fmla="*/ 1229 w 1984"/>
                <a:gd name="T11" fmla="*/ 2401 h 2651"/>
                <a:gd name="T12" fmla="*/ 1407 w 1984"/>
                <a:gd name="T13" fmla="*/ 2651 h 2651"/>
                <a:gd name="T14" fmla="*/ 595 w 1984"/>
                <a:gd name="T15" fmla="*/ 2651 h 2651"/>
                <a:gd name="T16" fmla="*/ 771 w 1984"/>
                <a:gd name="T17" fmla="*/ 2401 h 2651"/>
                <a:gd name="T18" fmla="*/ 771 w 1984"/>
                <a:gd name="T19" fmla="*/ 279 h 2651"/>
                <a:gd name="T20" fmla="*/ 315 w 1984"/>
                <a:gd name="T21" fmla="*/ 279 h 2651"/>
                <a:gd name="T22" fmla="*/ 0 w 1984"/>
                <a:gd name="T23" fmla="*/ 522 h 2651"/>
                <a:gd name="T24" fmla="*/ 161 w 1984"/>
                <a:gd name="T25" fmla="*/ 0 h 2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84" h="2651">
                  <a:moveTo>
                    <a:pt x="161" y="0"/>
                  </a:moveTo>
                  <a:cubicBezTo>
                    <a:pt x="1984" y="0"/>
                    <a:pt x="1984" y="0"/>
                    <a:pt x="1984" y="0"/>
                  </a:cubicBezTo>
                  <a:cubicBezTo>
                    <a:pt x="1829" y="482"/>
                    <a:pt x="1829" y="482"/>
                    <a:pt x="1829" y="482"/>
                  </a:cubicBezTo>
                  <a:cubicBezTo>
                    <a:pt x="1829" y="482"/>
                    <a:pt x="1783" y="279"/>
                    <a:pt x="1607" y="279"/>
                  </a:cubicBezTo>
                  <a:cubicBezTo>
                    <a:pt x="1229" y="279"/>
                    <a:pt x="1229" y="279"/>
                    <a:pt x="1229" y="279"/>
                  </a:cubicBezTo>
                  <a:cubicBezTo>
                    <a:pt x="1229" y="2401"/>
                    <a:pt x="1229" y="2401"/>
                    <a:pt x="1229" y="2401"/>
                  </a:cubicBezTo>
                  <a:cubicBezTo>
                    <a:pt x="1229" y="2535"/>
                    <a:pt x="1407" y="2651"/>
                    <a:pt x="1407" y="2651"/>
                  </a:cubicBezTo>
                  <a:cubicBezTo>
                    <a:pt x="595" y="2651"/>
                    <a:pt x="595" y="2651"/>
                    <a:pt x="595" y="2651"/>
                  </a:cubicBezTo>
                  <a:cubicBezTo>
                    <a:pt x="595" y="2651"/>
                    <a:pt x="771" y="2547"/>
                    <a:pt x="771" y="2401"/>
                  </a:cubicBezTo>
                  <a:cubicBezTo>
                    <a:pt x="771" y="279"/>
                    <a:pt x="771" y="279"/>
                    <a:pt x="771" y="279"/>
                  </a:cubicBezTo>
                  <a:cubicBezTo>
                    <a:pt x="315" y="279"/>
                    <a:pt x="315" y="279"/>
                    <a:pt x="315" y="279"/>
                  </a:cubicBezTo>
                  <a:cubicBezTo>
                    <a:pt x="185" y="280"/>
                    <a:pt x="0" y="522"/>
                    <a:pt x="0" y="522"/>
                  </a:cubicBezTo>
                  <a:lnTo>
                    <a:pt x="16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7" name="Freeform 39">
              <a:extLst>
                <a:ext uri="{FF2B5EF4-FFF2-40B4-BE49-F238E27FC236}">
                  <a16:creationId xmlns:a16="http://schemas.microsoft.com/office/drawing/2014/main" id="{60628E7A-A810-4212-B4B2-7491E343EAE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734426" y="401514"/>
              <a:ext cx="169862" cy="204725"/>
            </a:xfrm>
            <a:custGeom>
              <a:avLst/>
              <a:gdLst>
                <a:gd name="T0" fmla="*/ 1420 w 2219"/>
                <a:gd name="T1" fmla="*/ 0 h 2693"/>
                <a:gd name="T2" fmla="*/ 2219 w 2219"/>
                <a:gd name="T3" fmla="*/ 0 h 2693"/>
                <a:gd name="T4" fmla="*/ 2048 w 2219"/>
                <a:gd name="T5" fmla="*/ 234 h 2693"/>
                <a:gd name="T6" fmla="*/ 2048 w 2219"/>
                <a:gd name="T7" fmla="*/ 1840 h 2693"/>
                <a:gd name="T8" fmla="*/ 1131 w 2219"/>
                <a:gd name="T9" fmla="*/ 2693 h 2693"/>
                <a:gd name="T10" fmla="*/ 176 w 2219"/>
                <a:gd name="T11" fmla="*/ 1840 h 2693"/>
                <a:gd name="T12" fmla="*/ 176 w 2219"/>
                <a:gd name="T13" fmla="*/ 234 h 2693"/>
                <a:gd name="T14" fmla="*/ 0 w 2219"/>
                <a:gd name="T15" fmla="*/ 0 h 2693"/>
                <a:gd name="T16" fmla="*/ 821 w 2219"/>
                <a:gd name="T17" fmla="*/ 0 h 2693"/>
                <a:gd name="T18" fmla="*/ 638 w 2219"/>
                <a:gd name="T19" fmla="*/ 234 h 2693"/>
                <a:gd name="T20" fmla="*/ 638 w 2219"/>
                <a:gd name="T21" fmla="*/ 1840 h 2693"/>
                <a:gd name="T22" fmla="*/ 1131 w 2219"/>
                <a:gd name="T23" fmla="*/ 2406 h 2693"/>
                <a:gd name="T24" fmla="*/ 1601 w 2219"/>
                <a:gd name="T25" fmla="*/ 1840 h 2693"/>
                <a:gd name="T26" fmla="*/ 1601 w 2219"/>
                <a:gd name="T27" fmla="*/ 234 h 2693"/>
                <a:gd name="T28" fmla="*/ 1420 w 2219"/>
                <a:gd name="T29" fmla="*/ 0 h 26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219" h="2693">
                  <a:moveTo>
                    <a:pt x="1420" y="0"/>
                  </a:moveTo>
                  <a:cubicBezTo>
                    <a:pt x="2219" y="0"/>
                    <a:pt x="2219" y="0"/>
                    <a:pt x="2219" y="0"/>
                  </a:cubicBezTo>
                  <a:cubicBezTo>
                    <a:pt x="2219" y="0"/>
                    <a:pt x="2048" y="91"/>
                    <a:pt x="2048" y="234"/>
                  </a:cubicBezTo>
                  <a:cubicBezTo>
                    <a:pt x="2048" y="1840"/>
                    <a:pt x="2048" y="1840"/>
                    <a:pt x="2048" y="1840"/>
                  </a:cubicBezTo>
                  <a:cubicBezTo>
                    <a:pt x="2047" y="2492"/>
                    <a:pt x="1506" y="2693"/>
                    <a:pt x="1131" y="2693"/>
                  </a:cubicBezTo>
                  <a:cubicBezTo>
                    <a:pt x="759" y="2693"/>
                    <a:pt x="175" y="2490"/>
                    <a:pt x="176" y="1840"/>
                  </a:cubicBezTo>
                  <a:cubicBezTo>
                    <a:pt x="176" y="234"/>
                    <a:pt x="176" y="234"/>
                    <a:pt x="176" y="234"/>
                  </a:cubicBezTo>
                  <a:cubicBezTo>
                    <a:pt x="176" y="91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8" y="88"/>
                    <a:pt x="638" y="234"/>
                  </a:cubicBezTo>
                  <a:cubicBezTo>
                    <a:pt x="638" y="1840"/>
                    <a:pt x="638" y="1840"/>
                    <a:pt x="638" y="1840"/>
                  </a:cubicBezTo>
                  <a:cubicBezTo>
                    <a:pt x="638" y="2182"/>
                    <a:pt x="865" y="2406"/>
                    <a:pt x="1131" y="2406"/>
                  </a:cubicBezTo>
                  <a:cubicBezTo>
                    <a:pt x="1397" y="2406"/>
                    <a:pt x="1600" y="2173"/>
                    <a:pt x="1601" y="1840"/>
                  </a:cubicBezTo>
                  <a:cubicBezTo>
                    <a:pt x="1601" y="234"/>
                    <a:pt x="1601" y="234"/>
                    <a:pt x="1601" y="234"/>
                  </a:cubicBezTo>
                  <a:cubicBezTo>
                    <a:pt x="1601" y="91"/>
                    <a:pt x="1420" y="0"/>
                    <a:pt x="142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8" name="Freeform 40">
              <a:extLst>
                <a:ext uri="{FF2B5EF4-FFF2-40B4-BE49-F238E27FC236}">
                  <a16:creationId xmlns:a16="http://schemas.microsoft.com/office/drawing/2014/main" id="{FF33B481-F09E-41F9-A16D-ABCE1EFBE5F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142289" y="401514"/>
              <a:ext cx="169862" cy="206312"/>
            </a:xfrm>
            <a:custGeom>
              <a:avLst/>
              <a:gdLst>
                <a:gd name="T0" fmla="*/ 1427 w 2240"/>
                <a:gd name="T1" fmla="*/ 0 h 2700"/>
                <a:gd name="T2" fmla="*/ 2240 w 2240"/>
                <a:gd name="T3" fmla="*/ 0 h 2700"/>
                <a:gd name="T4" fmla="*/ 2068 w 2240"/>
                <a:gd name="T5" fmla="*/ 237 h 2700"/>
                <a:gd name="T6" fmla="*/ 2067 w 2240"/>
                <a:gd name="T7" fmla="*/ 1838 h 2700"/>
                <a:gd name="T8" fmla="*/ 1122 w 2240"/>
                <a:gd name="T9" fmla="*/ 2700 h 2700"/>
                <a:gd name="T10" fmla="*/ 166 w 2240"/>
                <a:gd name="T11" fmla="*/ 1838 h 2700"/>
                <a:gd name="T12" fmla="*/ 166 w 2240"/>
                <a:gd name="T13" fmla="*/ 237 h 2700"/>
                <a:gd name="T14" fmla="*/ 0 w 2240"/>
                <a:gd name="T15" fmla="*/ 0 h 2700"/>
                <a:gd name="T16" fmla="*/ 821 w 2240"/>
                <a:gd name="T17" fmla="*/ 0 h 2700"/>
                <a:gd name="T18" fmla="*/ 631 w 2240"/>
                <a:gd name="T19" fmla="*/ 237 h 2700"/>
                <a:gd name="T20" fmla="*/ 630 w 2240"/>
                <a:gd name="T21" fmla="*/ 1838 h 2700"/>
                <a:gd name="T22" fmla="*/ 1122 w 2240"/>
                <a:gd name="T23" fmla="*/ 2413 h 2700"/>
                <a:gd name="T24" fmla="*/ 1602 w 2240"/>
                <a:gd name="T25" fmla="*/ 1838 h 2700"/>
                <a:gd name="T26" fmla="*/ 1603 w 2240"/>
                <a:gd name="T27" fmla="*/ 237 h 2700"/>
                <a:gd name="T28" fmla="*/ 1427 w 2240"/>
                <a:gd name="T29" fmla="*/ 0 h 27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240" h="2700">
                  <a:moveTo>
                    <a:pt x="1427" y="0"/>
                  </a:moveTo>
                  <a:cubicBezTo>
                    <a:pt x="2240" y="0"/>
                    <a:pt x="2240" y="0"/>
                    <a:pt x="2240" y="0"/>
                  </a:cubicBezTo>
                  <a:cubicBezTo>
                    <a:pt x="2240" y="0"/>
                    <a:pt x="2068" y="95"/>
                    <a:pt x="2068" y="237"/>
                  </a:cubicBezTo>
                  <a:cubicBezTo>
                    <a:pt x="2068" y="238"/>
                    <a:pt x="2067" y="1838"/>
                    <a:pt x="2067" y="1838"/>
                  </a:cubicBezTo>
                  <a:cubicBezTo>
                    <a:pt x="2067" y="2494"/>
                    <a:pt x="1501" y="2700"/>
                    <a:pt x="1122" y="2700"/>
                  </a:cubicBezTo>
                  <a:cubicBezTo>
                    <a:pt x="750" y="2700"/>
                    <a:pt x="166" y="2491"/>
                    <a:pt x="166" y="1838"/>
                  </a:cubicBezTo>
                  <a:cubicBezTo>
                    <a:pt x="166" y="237"/>
                    <a:pt x="166" y="237"/>
                    <a:pt x="166" y="237"/>
                  </a:cubicBezTo>
                  <a:cubicBezTo>
                    <a:pt x="166" y="94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1" y="94"/>
                    <a:pt x="631" y="237"/>
                  </a:cubicBezTo>
                  <a:cubicBezTo>
                    <a:pt x="630" y="1838"/>
                    <a:pt x="630" y="1838"/>
                    <a:pt x="630" y="1838"/>
                  </a:cubicBezTo>
                  <a:cubicBezTo>
                    <a:pt x="630" y="2178"/>
                    <a:pt x="856" y="2412"/>
                    <a:pt x="1122" y="2413"/>
                  </a:cubicBezTo>
                  <a:cubicBezTo>
                    <a:pt x="1388" y="2414"/>
                    <a:pt x="1602" y="2174"/>
                    <a:pt x="1602" y="1838"/>
                  </a:cubicBezTo>
                  <a:cubicBezTo>
                    <a:pt x="1603" y="237"/>
                    <a:pt x="1603" y="237"/>
                    <a:pt x="1603" y="237"/>
                  </a:cubicBezTo>
                  <a:cubicBezTo>
                    <a:pt x="1603" y="94"/>
                    <a:pt x="1427" y="0"/>
                    <a:pt x="142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9" name="Freeform 41">
              <a:extLst>
                <a:ext uri="{FF2B5EF4-FFF2-40B4-BE49-F238E27FC236}">
                  <a16:creationId xmlns:a16="http://schemas.microsoft.com/office/drawing/2014/main" id="{7E5FB21F-1485-49A3-BE1D-880B4556A005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604251" y="396753"/>
              <a:ext cx="130175" cy="211073"/>
            </a:xfrm>
            <a:custGeom>
              <a:avLst/>
              <a:gdLst>
                <a:gd name="T0" fmla="*/ 1467 w 1707"/>
                <a:gd name="T1" fmla="*/ 479 h 2755"/>
                <a:gd name="T2" fmla="*/ 1019 w 1707"/>
                <a:gd name="T3" fmla="*/ 276 h 2755"/>
                <a:gd name="T4" fmla="*/ 504 w 1707"/>
                <a:gd name="T5" fmla="*/ 677 h 2755"/>
                <a:gd name="T6" fmla="*/ 995 w 1707"/>
                <a:gd name="T7" fmla="*/ 1174 h 2755"/>
                <a:gd name="T8" fmla="*/ 1705 w 1707"/>
                <a:gd name="T9" fmla="*/ 1974 h 2755"/>
                <a:gd name="T10" fmla="*/ 651 w 1707"/>
                <a:gd name="T11" fmla="*/ 2755 h 2755"/>
                <a:gd name="T12" fmla="*/ 155 w 1707"/>
                <a:gd name="T13" fmla="*/ 2686 h 2755"/>
                <a:gd name="T14" fmla="*/ 0 w 1707"/>
                <a:gd name="T15" fmla="*/ 2177 h 2755"/>
                <a:gd name="T16" fmla="*/ 658 w 1707"/>
                <a:gd name="T17" fmla="*/ 2466 h 2755"/>
                <a:gd name="T18" fmla="*/ 1252 w 1707"/>
                <a:gd name="T19" fmla="*/ 2030 h 2755"/>
                <a:gd name="T20" fmla="*/ 46 w 1707"/>
                <a:gd name="T21" fmla="*/ 731 h 2755"/>
                <a:gd name="T22" fmla="*/ 973 w 1707"/>
                <a:gd name="T23" fmla="*/ 0 h 2755"/>
                <a:gd name="T24" fmla="*/ 1467 w 1707"/>
                <a:gd name="T25" fmla="*/ 69 h 2755"/>
                <a:gd name="T26" fmla="*/ 1467 w 1707"/>
                <a:gd name="T27" fmla="*/ 479 h 2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07" h="2755">
                  <a:moveTo>
                    <a:pt x="1467" y="479"/>
                  </a:moveTo>
                  <a:cubicBezTo>
                    <a:pt x="1467" y="479"/>
                    <a:pt x="1352" y="277"/>
                    <a:pt x="1019" y="276"/>
                  </a:cubicBezTo>
                  <a:cubicBezTo>
                    <a:pt x="686" y="275"/>
                    <a:pt x="505" y="450"/>
                    <a:pt x="504" y="677"/>
                  </a:cubicBezTo>
                  <a:cubicBezTo>
                    <a:pt x="503" y="934"/>
                    <a:pt x="696" y="1031"/>
                    <a:pt x="995" y="1174"/>
                  </a:cubicBezTo>
                  <a:cubicBezTo>
                    <a:pt x="1279" y="1311"/>
                    <a:pt x="1707" y="1499"/>
                    <a:pt x="1705" y="1974"/>
                  </a:cubicBezTo>
                  <a:cubicBezTo>
                    <a:pt x="1704" y="2399"/>
                    <a:pt x="1327" y="2755"/>
                    <a:pt x="651" y="2755"/>
                  </a:cubicBezTo>
                  <a:cubicBezTo>
                    <a:pt x="442" y="2754"/>
                    <a:pt x="155" y="2686"/>
                    <a:pt x="155" y="2686"/>
                  </a:cubicBezTo>
                  <a:cubicBezTo>
                    <a:pt x="0" y="2177"/>
                    <a:pt x="0" y="2177"/>
                    <a:pt x="0" y="2177"/>
                  </a:cubicBezTo>
                  <a:cubicBezTo>
                    <a:pt x="143" y="2316"/>
                    <a:pt x="397" y="2466"/>
                    <a:pt x="658" y="2466"/>
                  </a:cubicBezTo>
                  <a:cubicBezTo>
                    <a:pt x="929" y="2466"/>
                    <a:pt x="1252" y="2298"/>
                    <a:pt x="1252" y="2030"/>
                  </a:cubicBezTo>
                  <a:cubicBezTo>
                    <a:pt x="1252" y="1512"/>
                    <a:pt x="46" y="1598"/>
                    <a:pt x="46" y="731"/>
                  </a:cubicBezTo>
                  <a:cubicBezTo>
                    <a:pt x="46" y="433"/>
                    <a:pt x="254" y="0"/>
                    <a:pt x="973" y="0"/>
                  </a:cubicBezTo>
                  <a:cubicBezTo>
                    <a:pt x="1207" y="0"/>
                    <a:pt x="1467" y="69"/>
                    <a:pt x="1467" y="69"/>
                  </a:cubicBezTo>
                  <a:lnTo>
                    <a:pt x="1467" y="4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</p:grpSp>
      <p:sp>
        <p:nvSpPr>
          <p:cNvPr id="30" name="テキスト ボックス 29">
            <a:extLst>
              <a:ext uri="{FF2B5EF4-FFF2-40B4-BE49-F238E27FC236}">
                <a16:creationId xmlns:a16="http://schemas.microsoft.com/office/drawing/2014/main" id="{8613DED7-82D0-49B9-8E63-BB17EBF8CE0D}"/>
              </a:ext>
            </a:extLst>
          </p:cNvPr>
          <p:cNvSpPr txBox="1"/>
          <p:nvPr userDrawn="1"/>
        </p:nvSpPr>
        <p:spPr>
          <a:xfrm>
            <a:off x="129600" y="2008800"/>
            <a:ext cx="2876108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ja-JP" sz="4200" b="1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ank you</a:t>
            </a:r>
            <a:endParaRPr kumimoji="1" lang="ja-JP" altLang="en-US" sz="4200" b="1"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7827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597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losing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図 2">
            <a:extLst>
              <a:ext uri="{FF2B5EF4-FFF2-40B4-BE49-F238E27FC236}">
                <a16:creationId xmlns:a16="http://schemas.microsoft.com/office/drawing/2014/main" id="{5F6C4905-9CC5-4C8D-803C-5F137C0C75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69692" y="0"/>
            <a:ext cx="4574308" cy="5143499"/>
          </a:xfrm>
          <a:prstGeom prst="rect">
            <a:avLst/>
          </a:prstGeom>
        </p:spPr>
      </p:pic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kumimoji="1" lang="en-US" altLang="ja-JP"/>
              <a:t>© 2021 Fujitsu Limited</a:t>
            </a:r>
            <a:endParaRPr kumimoji="1" lang="ja-JP" altLang="en-US"/>
          </a:p>
        </p:txBody>
      </p:sp>
      <p:pic>
        <p:nvPicPr>
          <p:cNvPr id="20" name="図 19">
            <a:extLst>
              <a:ext uri="{FF2B5EF4-FFF2-40B4-BE49-F238E27FC236}">
                <a16:creationId xmlns:a16="http://schemas.microsoft.com/office/drawing/2014/main" id="{8B2F974C-2586-44F6-B521-85BC5FA4904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04888" y="1298597"/>
            <a:ext cx="3275999" cy="2545521"/>
          </a:xfrm>
          <a:prstGeom prst="rect">
            <a:avLst/>
          </a:prstGeom>
        </p:spPr>
      </p:pic>
      <p:grpSp>
        <p:nvGrpSpPr>
          <p:cNvPr id="19" name="Group 22" descr="Fujitsu">
            <a:extLst>
              <a:ext uri="{FF2B5EF4-FFF2-40B4-BE49-F238E27FC236}">
                <a16:creationId xmlns:a16="http://schemas.microsoft.com/office/drawing/2014/main" id="{30D807CB-9C19-40CB-9ADA-F5FD7669522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940675" y="242808"/>
            <a:ext cx="968769" cy="472173"/>
            <a:chOff x="8012114" y="249161"/>
            <a:chExt cx="892174" cy="434841"/>
          </a:xfrm>
        </p:grpSpPr>
        <p:sp>
          <p:nvSpPr>
            <p:cNvPr id="21" name="Freeform 34">
              <a:extLst>
                <a:ext uri="{FF2B5EF4-FFF2-40B4-BE49-F238E27FC236}">
                  <a16:creationId xmlns:a16="http://schemas.microsoft.com/office/drawing/2014/main" id="{8877A15F-B670-4519-AB23-C001B82B9FBA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307389" y="249161"/>
              <a:ext cx="179387" cy="139657"/>
            </a:xfrm>
            <a:custGeom>
              <a:avLst/>
              <a:gdLst>
                <a:gd name="T0" fmla="*/ 961 w 2365"/>
                <a:gd name="T1" fmla="*/ 764 h 1825"/>
                <a:gd name="T2" fmla="*/ 599 w 2365"/>
                <a:gd name="T3" fmla="*/ 642 h 1825"/>
                <a:gd name="T4" fmla="*/ 1 w 2365"/>
                <a:gd name="T5" fmla="*/ 1235 h 1825"/>
                <a:gd name="T6" fmla="*/ 599 w 2365"/>
                <a:gd name="T7" fmla="*/ 1825 h 1825"/>
                <a:gd name="T8" fmla="*/ 1053 w 2365"/>
                <a:gd name="T9" fmla="*/ 1619 h 1825"/>
                <a:gd name="T10" fmla="*/ 1053 w 2365"/>
                <a:gd name="T11" fmla="*/ 1293 h 1825"/>
                <a:gd name="T12" fmla="*/ 771 w 2365"/>
                <a:gd name="T13" fmla="*/ 1568 h 1825"/>
                <a:gd name="T14" fmla="*/ 599 w 2365"/>
                <a:gd name="T15" fmla="*/ 1604 h 1825"/>
                <a:gd name="T16" fmla="*/ 225 w 2365"/>
                <a:gd name="T17" fmla="*/ 1235 h 1825"/>
                <a:gd name="T18" fmla="*/ 599 w 2365"/>
                <a:gd name="T19" fmla="*/ 863 h 1825"/>
                <a:gd name="T20" fmla="*/ 861 w 2365"/>
                <a:gd name="T21" fmla="*/ 972 h 1825"/>
                <a:gd name="T22" fmla="*/ 1093 w 2365"/>
                <a:gd name="T23" fmla="*/ 1239 h 1825"/>
                <a:gd name="T24" fmla="*/ 1630 w 2365"/>
                <a:gd name="T25" fmla="*/ 1473 h 1825"/>
                <a:gd name="T26" fmla="*/ 2365 w 2365"/>
                <a:gd name="T27" fmla="*/ 741 h 1825"/>
                <a:gd name="T28" fmla="*/ 1630 w 2365"/>
                <a:gd name="T29" fmla="*/ 0 h 1825"/>
                <a:gd name="T30" fmla="*/ 1053 w 2365"/>
                <a:gd name="T31" fmla="*/ 295 h 1825"/>
                <a:gd name="T32" fmla="*/ 1053 w 2365"/>
                <a:gd name="T33" fmla="*/ 735 h 1825"/>
                <a:gd name="T34" fmla="*/ 1630 w 2365"/>
                <a:gd name="T35" fmla="*/ 232 h 1825"/>
                <a:gd name="T36" fmla="*/ 2134 w 2365"/>
                <a:gd name="T37" fmla="*/ 741 h 1825"/>
                <a:gd name="T38" fmla="*/ 1630 w 2365"/>
                <a:gd name="T39" fmla="*/ 1245 h 1825"/>
                <a:gd name="T40" fmla="*/ 1303 w 2365"/>
                <a:gd name="T41" fmla="*/ 1125 h 1825"/>
                <a:gd name="T42" fmla="*/ 961 w 2365"/>
                <a:gd name="T43" fmla="*/ 764 h 18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65" h="1825">
                  <a:moveTo>
                    <a:pt x="961" y="764"/>
                  </a:moveTo>
                  <a:cubicBezTo>
                    <a:pt x="875" y="688"/>
                    <a:pt x="736" y="643"/>
                    <a:pt x="599" y="642"/>
                  </a:cubicBezTo>
                  <a:cubicBezTo>
                    <a:pt x="270" y="641"/>
                    <a:pt x="2" y="900"/>
                    <a:pt x="1" y="1235"/>
                  </a:cubicBezTo>
                  <a:cubicBezTo>
                    <a:pt x="0" y="1563"/>
                    <a:pt x="270" y="1824"/>
                    <a:pt x="599" y="1825"/>
                  </a:cubicBezTo>
                  <a:cubicBezTo>
                    <a:pt x="783" y="1825"/>
                    <a:pt x="943" y="1751"/>
                    <a:pt x="1053" y="1619"/>
                  </a:cubicBezTo>
                  <a:cubicBezTo>
                    <a:pt x="1053" y="1293"/>
                    <a:pt x="1053" y="1293"/>
                    <a:pt x="1053" y="1293"/>
                  </a:cubicBezTo>
                  <a:cubicBezTo>
                    <a:pt x="994" y="1394"/>
                    <a:pt x="877" y="1524"/>
                    <a:pt x="771" y="1568"/>
                  </a:cubicBezTo>
                  <a:cubicBezTo>
                    <a:pt x="717" y="1590"/>
                    <a:pt x="662" y="1604"/>
                    <a:pt x="599" y="1604"/>
                  </a:cubicBezTo>
                  <a:cubicBezTo>
                    <a:pt x="394" y="1604"/>
                    <a:pt x="225" y="1445"/>
                    <a:pt x="225" y="1235"/>
                  </a:cubicBezTo>
                  <a:cubicBezTo>
                    <a:pt x="225" y="1041"/>
                    <a:pt x="380" y="862"/>
                    <a:pt x="599" y="863"/>
                  </a:cubicBezTo>
                  <a:cubicBezTo>
                    <a:pt x="701" y="863"/>
                    <a:pt x="793" y="905"/>
                    <a:pt x="861" y="972"/>
                  </a:cubicBezTo>
                  <a:cubicBezTo>
                    <a:pt x="931" y="1040"/>
                    <a:pt x="1041" y="1183"/>
                    <a:pt x="1093" y="1239"/>
                  </a:cubicBezTo>
                  <a:cubicBezTo>
                    <a:pt x="1227" y="1383"/>
                    <a:pt x="1419" y="1473"/>
                    <a:pt x="1630" y="1473"/>
                  </a:cubicBezTo>
                  <a:cubicBezTo>
                    <a:pt x="2036" y="1474"/>
                    <a:pt x="2365" y="1146"/>
                    <a:pt x="2365" y="741"/>
                  </a:cubicBezTo>
                  <a:cubicBezTo>
                    <a:pt x="2365" y="336"/>
                    <a:pt x="2035" y="0"/>
                    <a:pt x="1630" y="0"/>
                  </a:cubicBezTo>
                  <a:cubicBezTo>
                    <a:pt x="1395" y="0"/>
                    <a:pt x="1187" y="122"/>
                    <a:pt x="1053" y="295"/>
                  </a:cubicBezTo>
                  <a:cubicBezTo>
                    <a:pt x="1053" y="735"/>
                    <a:pt x="1053" y="735"/>
                    <a:pt x="1053" y="735"/>
                  </a:cubicBezTo>
                  <a:cubicBezTo>
                    <a:pt x="1155" y="455"/>
                    <a:pt x="1340" y="232"/>
                    <a:pt x="1630" y="232"/>
                  </a:cubicBezTo>
                  <a:cubicBezTo>
                    <a:pt x="1909" y="232"/>
                    <a:pt x="2135" y="463"/>
                    <a:pt x="2134" y="741"/>
                  </a:cubicBezTo>
                  <a:cubicBezTo>
                    <a:pt x="2134" y="1020"/>
                    <a:pt x="1909" y="1246"/>
                    <a:pt x="1630" y="1245"/>
                  </a:cubicBezTo>
                  <a:cubicBezTo>
                    <a:pt x="1506" y="1244"/>
                    <a:pt x="1391" y="1199"/>
                    <a:pt x="1303" y="1125"/>
                  </a:cubicBezTo>
                  <a:cubicBezTo>
                    <a:pt x="1194" y="1040"/>
                    <a:pt x="1074" y="860"/>
                    <a:pt x="961" y="76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2" name="Freeform 35">
              <a:extLst>
                <a:ext uri="{FF2B5EF4-FFF2-40B4-BE49-F238E27FC236}">
                  <a16:creationId xmlns:a16="http://schemas.microsoft.com/office/drawing/2014/main" id="{DA8B768A-A97D-490B-93AE-5E275BCA6988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012114" y="401514"/>
              <a:ext cx="123825" cy="201551"/>
            </a:xfrm>
            <a:custGeom>
              <a:avLst/>
              <a:gdLst>
                <a:gd name="T0" fmla="*/ 0 w 1624"/>
                <a:gd name="T1" fmla="*/ 0 h 2651"/>
                <a:gd name="T2" fmla="*/ 1624 w 1624"/>
                <a:gd name="T3" fmla="*/ 0 h 2651"/>
                <a:gd name="T4" fmla="*/ 1624 w 1624"/>
                <a:gd name="T5" fmla="*/ 452 h 2651"/>
                <a:gd name="T6" fmla="*/ 1365 w 1624"/>
                <a:gd name="T7" fmla="*/ 273 h 2651"/>
                <a:gd name="T8" fmla="*/ 613 w 1624"/>
                <a:gd name="T9" fmla="*/ 273 h 2651"/>
                <a:gd name="T10" fmla="*/ 613 w 1624"/>
                <a:gd name="T11" fmla="*/ 1053 h 2651"/>
                <a:gd name="T12" fmla="*/ 1428 w 1624"/>
                <a:gd name="T13" fmla="*/ 1053 h 2651"/>
                <a:gd name="T14" fmla="*/ 1428 w 1624"/>
                <a:gd name="T15" fmla="*/ 1467 h 2651"/>
                <a:gd name="T16" fmla="*/ 1205 w 1624"/>
                <a:gd name="T17" fmla="*/ 1335 h 2651"/>
                <a:gd name="T18" fmla="*/ 613 w 1624"/>
                <a:gd name="T19" fmla="*/ 1335 h 2651"/>
                <a:gd name="T20" fmla="*/ 613 w 1624"/>
                <a:gd name="T21" fmla="*/ 2401 h 2651"/>
                <a:gd name="T22" fmla="*/ 784 w 1624"/>
                <a:gd name="T23" fmla="*/ 2651 h 2651"/>
                <a:gd name="T24" fmla="*/ 11 w 1624"/>
                <a:gd name="T25" fmla="*/ 2651 h 2651"/>
                <a:gd name="T26" fmla="*/ 173 w 1624"/>
                <a:gd name="T27" fmla="*/ 2401 h 2651"/>
                <a:gd name="T28" fmla="*/ 173 w 1624"/>
                <a:gd name="T29" fmla="*/ 278 h 2651"/>
                <a:gd name="T30" fmla="*/ 0 w 1624"/>
                <a:gd name="T31" fmla="*/ 0 h 2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624" h="2651">
                  <a:moveTo>
                    <a:pt x="0" y="0"/>
                  </a:moveTo>
                  <a:cubicBezTo>
                    <a:pt x="1624" y="0"/>
                    <a:pt x="1624" y="0"/>
                    <a:pt x="1624" y="0"/>
                  </a:cubicBezTo>
                  <a:cubicBezTo>
                    <a:pt x="1624" y="452"/>
                    <a:pt x="1624" y="452"/>
                    <a:pt x="1624" y="452"/>
                  </a:cubicBezTo>
                  <a:cubicBezTo>
                    <a:pt x="1624" y="452"/>
                    <a:pt x="1540" y="274"/>
                    <a:pt x="1365" y="273"/>
                  </a:cubicBezTo>
                  <a:cubicBezTo>
                    <a:pt x="613" y="273"/>
                    <a:pt x="613" y="273"/>
                    <a:pt x="613" y="273"/>
                  </a:cubicBezTo>
                  <a:cubicBezTo>
                    <a:pt x="613" y="1053"/>
                    <a:pt x="613" y="1053"/>
                    <a:pt x="613" y="1053"/>
                  </a:cubicBezTo>
                  <a:cubicBezTo>
                    <a:pt x="1428" y="1053"/>
                    <a:pt x="1428" y="1053"/>
                    <a:pt x="1428" y="1053"/>
                  </a:cubicBezTo>
                  <a:cubicBezTo>
                    <a:pt x="1428" y="1467"/>
                    <a:pt x="1428" y="1467"/>
                    <a:pt x="1428" y="1467"/>
                  </a:cubicBezTo>
                  <a:cubicBezTo>
                    <a:pt x="1428" y="1467"/>
                    <a:pt x="1402" y="1335"/>
                    <a:pt x="1205" y="1335"/>
                  </a:cubicBezTo>
                  <a:cubicBezTo>
                    <a:pt x="613" y="1335"/>
                    <a:pt x="613" y="1335"/>
                    <a:pt x="613" y="1335"/>
                  </a:cubicBezTo>
                  <a:cubicBezTo>
                    <a:pt x="613" y="2401"/>
                    <a:pt x="613" y="2401"/>
                    <a:pt x="613" y="2401"/>
                  </a:cubicBezTo>
                  <a:cubicBezTo>
                    <a:pt x="613" y="2558"/>
                    <a:pt x="784" y="2651"/>
                    <a:pt x="784" y="2651"/>
                  </a:cubicBezTo>
                  <a:cubicBezTo>
                    <a:pt x="11" y="2651"/>
                    <a:pt x="11" y="2651"/>
                    <a:pt x="11" y="2651"/>
                  </a:cubicBezTo>
                  <a:cubicBezTo>
                    <a:pt x="11" y="2651"/>
                    <a:pt x="173" y="2569"/>
                    <a:pt x="173" y="2401"/>
                  </a:cubicBezTo>
                  <a:cubicBezTo>
                    <a:pt x="173" y="278"/>
                    <a:pt x="173" y="278"/>
                    <a:pt x="173" y="278"/>
                  </a:cubicBezTo>
                  <a:cubicBezTo>
                    <a:pt x="173" y="9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4" name="Freeform 36">
              <a:extLst>
                <a:ext uri="{FF2B5EF4-FFF2-40B4-BE49-F238E27FC236}">
                  <a16:creationId xmlns:a16="http://schemas.microsoft.com/office/drawing/2014/main" id="{4B37A482-6532-4170-98AF-22DF8FB9C97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305801" y="401514"/>
              <a:ext cx="80962" cy="282488"/>
            </a:xfrm>
            <a:custGeom>
              <a:avLst/>
              <a:gdLst>
                <a:gd name="T0" fmla="*/ 246 w 1072"/>
                <a:gd name="T1" fmla="*/ 0 h 3696"/>
                <a:gd name="T2" fmla="*/ 1072 w 1072"/>
                <a:gd name="T3" fmla="*/ 0 h 3696"/>
                <a:gd name="T4" fmla="*/ 887 w 1072"/>
                <a:gd name="T5" fmla="*/ 230 h 3696"/>
                <a:gd name="T6" fmla="*/ 887 w 1072"/>
                <a:gd name="T7" fmla="*/ 2717 h 3696"/>
                <a:gd name="T8" fmla="*/ 0 w 1072"/>
                <a:gd name="T9" fmla="*/ 3693 h 3696"/>
                <a:gd name="T10" fmla="*/ 423 w 1072"/>
                <a:gd name="T11" fmla="*/ 2717 h 3696"/>
                <a:gd name="T12" fmla="*/ 423 w 1072"/>
                <a:gd name="T13" fmla="*/ 230 h 3696"/>
                <a:gd name="T14" fmla="*/ 246 w 1072"/>
                <a:gd name="T15" fmla="*/ 0 h 36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72" h="3696">
                  <a:moveTo>
                    <a:pt x="246" y="0"/>
                  </a:moveTo>
                  <a:cubicBezTo>
                    <a:pt x="1072" y="0"/>
                    <a:pt x="1072" y="0"/>
                    <a:pt x="1072" y="0"/>
                  </a:cubicBezTo>
                  <a:cubicBezTo>
                    <a:pt x="1072" y="0"/>
                    <a:pt x="887" y="87"/>
                    <a:pt x="887" y="230"/>
                  </a:cubicBezTo>
                  <a:cubicBezTo>
                    <a:pt x="887" y="2717"/>
                    <a:pt x="887" y="2717"/>
                    <a:pt x="887" y="2717"/>
                  </a:cubicBezTo>
                  <a:cubicBezTo>
                    <a:pt x="887" y="3558"/>
                    <a:pt x="44" y="3696"/>
                    <a:pt x="0" y="3693"/>
                  </a:cubicBezTo>
                  <a:cubicBezTo>
                    <a:pt x="72" y="3647"/>
                    <a:pt x="422" y="3349"/>
                    <a:pt x="423" y="2717"/>
                  </a:cubicBezTo>
                  <a:cubicBezTo>
                    <a:pt x="423" y="230"/>
                    <a:pt x="423" y="230"/>
                    <a:pt x="423" y="230"/>
                  </a:cubicBezTo>
                  <a:cubicBezTo>
                    <a:pt x="424" y="96"/>
                    <a:pt x="246" y="0"/>
                    <a:pt x="24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5" name="Freeform 37">
              <a:extLst>
                <a:ext uri="{FF2B5EF4-FFF2-40B4-BE49-F238E27FC236}">
                  <a16:creationId xmlns:a16="http://schemas.microsoft.com/office/drawing/2014/main" id="{30D79590-2C60-41D2-B7FF-F45AC7FE2B1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396289" y="401514"/>
              <a:ext cx="63500" cy="201551"/>
            </a:xfrm>
            <a:custGeom>
              <a:avLst/>
              <a:gdLst>
                <a:gd name="T0" fmla="*/ 0 w 828"/>
                <a:gd name="T1" fmla="*/ 0 h 2653"/>
                <a:gd name="T2" fmla="*/ 828 w 828"/>
                <a:gd name="T3" fmla="*/ 0 h 2653"/>
                <a:gd name="T4" fmla="*/ 645 w 828"/>
                <a:gd name="T5" fmla="*/ 235 h 2653"/>
                <a:gd name="T6" fmla="*/ 645 w 828"/>
                <a:gd name="T7" fmla="*/ 2401 h 2653"/>
                <a:gd name="T8" fmla="*/ 828 w 828"/>
                <a:gd name="T9" fmla="*/ 2653 h 2653"/>
                <a:gd name="T10" fmla="*/ 0 w 828"/>
                <a:gd name="T11" fmla="*/ 2653 h 2653"/>
                <a:gd name="T12" fmla="*/ 184 w 828"/>
                <a:gd name="T13" fmla="*/ 2401 h 2653"/>
                <a:gd name="T14" fmla="*/ 184 w 828"/>
                <a:gd name="T15" fmla="*/ 235 h 2653"/>
                <a:gd name="T16" fmla="*/ 0 w 828"/>
                <a:gd name="T17" fmla="*/ 0 h 26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28" h="2653">
                  <a:moveTo>
                    <a:pt x="0" y="0"/>
                  </a:moveTo>
                  <a:cubicBezTo>
                    <a:pt x="828" y="0"/>
                    <a:pt x="828" y="0"/>
                    <a:pt x="828" y="0"/>
                  </a:cubicBezTo>
                  <a:cubicBezTo>
                    <a:pt x="828" y="0"/>
                    <a:pt x="645" y="89"/>
                    <a:pt x="645" y="235"/>
                  </a:cubicBezTo>
                  <a:cubicBezTo>
                    <a:pt x="645" y="2401"/>
                    <a:pt x="645" y="2401"/>
                    <a:pt x="645" y="2401"/>
                  </a:cubicBezTo>
                  <a:cubicBezTo>
                    <a:pt x="645" y="2556"/>
                    <a:pt x="828" y="2653"/>
                    <a:pt x="828" y="2653"/>
                  </a:cubicBezTo>
                  <a:cubicBezTo>
                    <a:pt x="0" y="2653"/>
                    <a:pt x="0" y="2653"/>
                    <a:pt x="0" y="2653"/>
                  </a:cubicBezTo>
                  <a:cubicBezTo>
                    <a:pt x="0" y="2653"/>
                    <a:pt x="184" y="2557"/>
                    <a:pt x="184" y="2401"/>
                  </a:cubicBezTo>
                  <a:cubicBezTo>
                    <a:pt x="184" y="235"/>
                    <a:pt x="184" y="235"/>
                    <a:pt x="184" y="235"/>
                  </a:cubicBezTo>
                  <a:cubicBezTo>
                    <a:pt x="184" y="8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6" name="Freeform 38">
              <a:extLst>
                <a:ext uri="{FF2B5EF4-FFF2-40B4-BE49-F238E27FC236}">
                  <a16:creationId xmlns:a16="http://schemas.microsoft.com/office/drawing/2014/main" id="{0142B91E-6DB6-4543-AD78-EB25DDD078A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459789" y="401514"/>
              <a:ext cx="150812" cy="201551"/>
            </a:xfrm>
            <a:custGeom>
              <a:avLst/>
              <a:gdLst>
                <a:gd name="T0" fmla="*/ 161 w 1984"/>
                <a:gd name="T1" fmla="*/ 0 h 2651"/>
                <a:gd name="T2" fmla="*/ 1984 w 1984"/>
                <a:gd name="T3" fmla="*/ 0 h 2651"/>
                <a:gd name="T4" fmla="*/ 1829 w 1984"/>
                <a:gd name="T5" fmla="*/ 482 h 2651"/>
                <a:gd name="T6" fmla="*/ 1607 w 1984"/>
                <a:gd name="T7" fmla="*/ 279 h 2651"/>
                <a:gd name="T8" fmla="*/ 1229 w 1984"/>
                <a:gd name="T9" fmla="*/ 279 h 2651"/>
                <a:gd name="T10" fmla="*/ 1229 w 1984"/>
                <a:gd name="T11" fmla="*/ 2401 h 2651"/>
                <a:gd name="T12" fmla="*/ 1407 w 1984"/>
                <a:gd name="T13" fmla="*/ 2651 h 2651"/>
                <a:gd name="T14" fmla="*/ 595 w 1984"/>
                <a:gd name="T15" fmla="*/ 2651 h 2651"/>
                <a:gd name="T16" fmla="*/ 771 w 1984"/>
                <a:gd name="T17" fmla="*/ 2401 h 2651"/>
                <a:gd name="T18" fmla="*/ 771 w 1984"/>
                <a:gd name="T19" fmla="*/ 279 h 2651"/>
                <a:gd name="T20" fmla="*/ 315 w 1984"/>
                <a:gd name="T21" fmla="*/ 279 h 2651"/>
                <a:gd name="T22" fmla="*/ 0 w 1984"/>
                <a:gd name="T23" fmla="*/ 522 h 2651"/>
                <a:gd name="T24" fmla="*/ 161 w 1984"/>
                <a:gd name="T25" fmla="*/ 0 h 2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84" h="2651">
                  <a:moveTo>
                    <a:pt x="161" y="0"/>
                  </a:moveTo>
                  <a:cubicBezTo>
                    <a:pt x="1984" y="0"/>
                    <a:pt x="1984" y="0"/>
                    <a:pt x="1984" y="0"/>
                  </a:cubicBezTo>
                  <a:cubicBezTo>
                    <a:pt x="1829" y="482"/>
                    <a:pt x="1829" y="482"/>
                    <a:pt x="1829" y="482"/>
                  </a:cubicBezTo>
                  <a:cubicBezTo>
                    <a:pt x="1829" y="482"/>
                    <a:pt x="1783" y="279"/>
                    <a:pt x="1607" y="279"/>
                  </a:cubicBezTo>
                  <a:cubicBezTo>
                    <a:pt x="1229" y="279"/>
                    <a:pt x="1229" y="279"/>
                    <a:pt x="1229" y="279"/>
                  </a:cubicBezTo>
                  <a:cubicBezTo>
                    <a:pt x="1229" y="2401"/>
                    <a:pt x="1229" y="2401"/>
                    <a:pt x="1229" y="2401"/>
                  </a:cubicBezTo>
                  <a:cubicBezTo>
                    <a:pt x="1229" y="2535"/>
                    <a:pt x="1407" y="2651"/>
                    <a:pt x="1407" y="2651"/>
                  </a:cubicBezTo>
                  <a:cubicBezTo>
                    <a:pt x="595" y="2651"/>
                    <a:pt x="595" y="2651"/>
                    <a:pt x="595" y="2651"/>
                  </a:cubicBezTo>
                  <a:cubicBezTo>
                    <a:pt x="595" y="2651"/>
                    <a:pt x="771" y="2547"/>
                    <a:pt x="771" y="2401"/>
                  </a:cubicBezTo>
                  <a:cubicBezTo>
                    <a:pt x="771" y="279"/>
                    <a:pt x="771" y="279"/>
                    <a:pt x="771" y="279"/>
                  </a:cubicBezTo>
                  <a:cubicBezTo>
                    <a:pt x="315" y="279"/>
                    <a:pt x="315" y="279"/>
                    <a:pt x="315" y="279"/>
                  </a:cubicBezTo>
                  <a:cubicBezTo>
                    <a:pt x="185" y="280"/>
                    <a:pt x="0" y="522"/>
                    <a:pt x="0" y="522"/>
                  </a:cubicBezTo>
                  <a:lnTo>
                    <a:pt x="16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7" name="Freeform 39">
              <a:extLst>
                <a:ext uri="{FF2B5EF4-FFF2-40B4-BE49-F238E27FC236}">
                  <a16:creationId xmlns:a16="http://schemas.microsoft.com/office/drawing/2014/main" id="{60628E7A-A810-4212-B4B2-7491E343EAE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734426" y="401514"/>
              <a:ext cx="169862" cy="204725"/>
            </a:xfrm>
            <a:custGeom>
              <a:avLst/>
              <a:gdLst>
                <a:gd name="T0" fmla="*/ 1420 w 2219"/>
                <a:gd name="T1" fmla="*/ 0 h 2693"/>
                <a:gd name="T2" fmla="*/ 2219 w 2219"/>
                <a:gd name="T3" fmla="*/ 0 h 2693"/>
                <a:gd name="T4" fmla="*/ 2048 w 2219"/>
                <a:gd name="T5" fmla="*/ 234 h 2693"/>
                <a:gd name="T6" fmla="*/ 2048 w 2219"/>
                <a:gd name="T7" fmla="*/ 1840 h 2693"/>
                <a:gd name="T8" fmla="*/ 1131 w 2219"/>
                <a:gd name="T9" fmla="*/ 2693 h 2693"/>
                <a:gd name="T10" fmla="*/ 176 w 2219"/>
                <a:gd name="T11" fmla="*/ 1840 h 2693"/>
                <a:gd name="T12" fmla="*/ 176 w 2219"/>
                <a:gd name="T13" fmla="*/ 234 h 2693"/>
                <a:gd name="T14" fmla="*/ 0 w 2219"/>
                <a:gd name="T15" fmla="*/ 0 h 2693"/>
                <a:gd name="T16" fmla="*/ 821 w 2219"/>
                <a:gd name="T17" fmla="*/ 0 h 2693"/>
                <a:gd name="T18" fmla="*/ 638 w 2219"/>
                <a:gd name="T19" fmla="*/ 234 h 2693"/>
                <a:gd name="T20" fmla="*/ 638 w 2219"/>
                <a:gd name="T21" fmla="*/ 1840 h 2693"/>
                <a:gd name="T22" fmla="*/ 1131 w 2219"/>
                <a:gd name="T23" fmla="*/ 2406 h 2693"/>
                <a:gd name="T24" fmla="*/ 1601 w 2219"/>
                <a:gd name="T25" fmla="*/ 1840 h 2693"/>
                <a:gd name="T26" fmla="*/ 1601 w 2219"/>
                <a:gd name="T27" fmla="*/ 234 h 2693"/>
                <a:gd name="T28" fmla="*/ 1420 w 2219"/>
                <a:gd name="T29" fmla="*/ 0 h 26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219" h="2693">
                  <a:moveTo>
                    <a:pt x="1420" y="0"/>
                  </a:moveTo>
                  <a:cubicBezTo>
                    <a:pt x="2219" y="0"/>
                    <a:pt x="2219" y="0"/>
                    <a:pt x="2219" y="0"/>
                  </a:cubicBezTo>
                  <a:cubicBezTo>
                    <a:pt x="2219" y="0"/>
                    <a:pt x="2048" y="91"/>
                    <a:pt x="2048" y="234"/>
                  </a:cubicBezTo>
                  <a:cubicBezTo>
                    <a:pt x="2048" y="1840"/>
                    <a:pt x="2048" y="1840"/>
                    <a:pt x="2048" y="1840"/>
                  </a:cubicBezTo>
                  <a:cubicBezTo>
                    <a:pt x="2047" y="2492"/>
                    <a:pt x="1506" y="2693"/>
                    <a:pt x="1131" y="2693"/>
                  </a:cubicBezTo>
                  <a:cubicBezTo>
                    <a:pt x="759" y="2693"/>
                    <a:pt x="175" y="2490"/>
                    <a:pt x="176" y="1840"/>
                  </a:cubicBezTo>
                  <a:cubicBezTo>
                    <a:pt x="176" y="234"/>
                    <a:pt x="176" y="234"/>
                    <a:pt x="176" y="234"/>
                  </a:cubicBezTo>
                  <a:cubicBezTo>
                    <a:pt x="176" y="91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8" y="88"/>
                    <a:pt x="638" y="234"/>
                  </a:cubicBezTo>
                  <a:cubicBezTo>
                    <a:pt x="638" y="1840"/>
                    <a:pt x="638" y="1840"/>
                    <a:pt x="638" y="1840"/>
                  </a:cubicBezTo>
                  <a:cubicBezTo>
                    <a:pt x="638" y="2182"/>
                    <a:pt x="865" y="2406"/>
                    <a:pt x="1131" y="2406"/>
                  </a:cubicBezTo>
                  <a:cubicBezTo>
                    <a:pt x="1397" y="2406"/>
                    <a:pt x="1600" y="2173"/>
                    <a:pt x="1601" y="1840"/>
                  </a:cubicBezTo>
                  <a:cubicBezTo>
                    <a:pt x="1601" y="234"/>
                    <a:pt x="1601" y="234"/>
                    <a:pt x="1601" y="234"/>
                  </a:cubicBezTo>
                  <a:cubicBezTo>
                    <a:pt x="1601" y="91"/>
                    <a:pt x="1420" y="0"/>
                    <a:pt x="142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8" name="Freeform 40">
              <a:extLst>
                <a:ext uri="{FF2B5EF4-FFF2-40B4-BE49-F238E27FC236}">
                  <a16:creationId xmlns:a16="http://schemas.microsoft.com/office/drawing/2014/main" id="{FF33B481-F09E-41F9-A16D-ABCE1EFBE5F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142289" y="401514"/>
              <a:ext cx="169862" cy="206312"/>
            </a:xfrm>
            <a:custGeom>
              <a:avLst/>
              <a:gdLst>
                <a:gd name="T0" fmla="*/ 1427 w 2240"/>
                <a:gd name="T1" fmla="*/ 0 h 2700"/>
                <a:gd name="T2" fmla="*/ 2240 w 2240"/>
                <a:gd name="T3" fmla="*/ 0 h 2700"/>
                <a:gd name="T4" fmla="*/ 2068 w 2240"/>
                <a:gd name="T5" fmla="*/ 237 h 2700"/>
                <a:gd name="T6" fmla="*/ 2067 w 2240"/>
                <a:gd name="T7" fmla="*/ 1838 h 2700"/>
                <a:gd name="T8" fmla="*/ 1122 w 2240"/>
                <a:gd name="T9" fmla="*/ 2700 h 2700"/>
                <a:gd name="T10" fmla="*/ 166 w 2240"/>
                <a:gd name="T11" fmla="*/ 1838 h 2700"/>
                <a:gd name="T12" fmla="*/ 166 w 2240"/>
                <a:gd name="T13" fmla="*/ 237 h 2700"/>
                <a:gd name="T14" fmla="*/ 0 w 2240"/>
                <a:gd name="T15" fmla="*/ 0 h 2700"/>
                <a:gd name="T16" fmla="*/ 821 w 2240"/>
                <a:gd name="T17" fmla="*/ 0 h 2700"/>
                <a:gd name="T18" fmla="*/ 631 w 2240"/>
                <a:gd name="T19" fmla="*/ 237 h 2700"/>
                <a:gd name="T20" fmla="*/ 630 w 2240"/>
                <a:gd name="T21" fmla="*/ 1838 h 2700"/>
                <a:gd name="T22" fmla="*/ 1122 w 2240"/>
                <a:gd name="T23" fmla="*/ 2413 h 2700"/>
                <a:gd name="T24" fmla="*/ 1602 w 2240"/>
                <a:gd name="T25" fmla="*/ 1838 h 2700"/>
                <a:gd name="T26" fmla="*/ 1603 w 2240"/>
                <a:gd name="T27" fmla="*/ 237 h 2700"/>
                <a:gd name="T28" fmla="*/ 1427 w 2240"/>
                <a:gd name="T29" fmla="*/ 0 h 27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240" h="2700">
                  <a:moveTo>
                    <a:pt x="1427" y="0"/>
                  </a:moveTo>
                  <a:cubicBezTo>
                    <a:pt x="2240" y="0"/>
                    <a:pt x="2240" y="0"/>
                    <a:pt x="2240" y="0"/>
                  </a:cubicBezTo>
                  <a:cubicBezTo>
                    <a:pt x="2240" y="0"/>
                    <a:pt x="2068" y="95"/>
                    <a:pt x="2068" y="237"/>
                  </a:cubicBezTo>
                  <a:cubicBezTo>
                    <a:pt x="2068" y="238"/>
                    <a:pt x="2067" y="1838"/>
                    <a:pt x="2067" y="1838"/>
                  </a:cubicBezTo>
                  <a:cubicBezTo>
                    <a:pt x="2067" y="2494"/>
                    <a:pt x="1501" y="2700"/>
                    <a:pt x="1122" y="2700"/>
                  </a:cubicBezTo>
                  <a:cubicBezTo>
                    <a:pt x="750" y="2700"/>
                    <a:pt x="166" y="2491"/>
                    <a:pt x="166" y="1838"/>
                  </a:cubicBezTo>
                  <a:cubicBezTo>
                    <a:pt x="166" y="237"/>
                    <a:pt x="166" y="237"/>
                    <a:pt x="166" y="237"/>
                  </a:cubicBezTo>
                  <a:cubicBezTo>
                    <a:pt x="166" y="94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1" y="94"/>
                    <a:pt x="631" y="237"/>
                  </a:cubicBezTo>
                  <a:cubicBezTo>
                    <a:pt x="630" y="1838"/>
                    <a:pt x="630" y="1838"/>
                    <a:pt x="630" y="1838"/>
                  </a:cubicBezTo>
                  <a:cubicBezTo>
                    <a:pt x="630" y="2178"/>
                    <a:pt x="856" y="2412"/>
                    <a:pt x="1122" y="2413"/>
                  </a:cubicBezTo>
                  <a:cubicBezTo>
                    <a:pt x="1388" y="2414"/>
                    <a:pt x="1602" y="2174"/>
                    <a:pt x="1602" y="1838"/>
                  </a:cubicBezTo>
                  <a:cubicBezTo>
                    <a:pt x="1603" y="237"/>
                    <a:pt x="1603" y="237"/>
                    <a:pt x="1603" y="237"/>
                  </a:cubicBezTo>
                  <a:cubicBezTo>
                    <a:pt x="1603" y="94"/>
                    <a:pt x="1427" y="0"/>
                    <a:pt x="142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9" name="Freeform 41">
              <a:extLst>
                <a:ext uri="{FF2B5EF4-FFF2-40B4-BE49-F238E27FC236}">
                  <a16:creationId xmlns:a16="http://schemas.microsoft.com/office/drawing/2014/main" id="{7E5FB21F-1485-49A3-BE1D-880B4556A005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604251" y="396753"/>
              <a:ext cx="130175" cy="211073"/>
            </a:xfrm>
            <a:custGeom>
              <a:avLst/>
              <a:gdLst>
                <a:gd name="T0" fmla="*/ 1467 w 1707"/>
                <a:gd name="T1" fmla="*/ 479 h 2755"/>
                <a:gd name="T2" fmla="*/ 1019 w 1707"/>
                <a:gd name="T3" fmla="*/ 276 h 2755"/>
                <a:gd name="T4" fmla="*/ 504 w 1707"/>
                <a:gd name="T5" fmla="*/ 677 h 2755"/>
                <a:gd name="T6" fmla="*/ 995 w 1707"/>
                <a:gd name="T7" fmla="*/ 1174 h 2755"/>
                <a:gd name="T8" fmla="*/ 1705 w 1707"/>
                <a:gd name="T9" fmla="*/ 1974 h 2755"/>
                <a:gd name="T10" fmla="*/ 651 w 1707"/>
                <a:gd name="T11" fmla="*/ 2755 h 2755"/>
                <a:gd name="T12" fmla="*/ 155 w 1707"/>
                <a:gd name="T13" fmla="*/ 2686 h 2755"/>
                <a:gd name="T14" fmla="*/ 0 w 1707"/>
                <a:gd name="T15" fmla="*/ 2177 h 2755"/>
                <a:gd name="T16" fmla="*/ 658 w 1707"/>
                <a:gd name="T17" fmla="*/ 2466 h 2755"/>
                <a:gd name="T18" fmla="*/ 1252 w 1707"/>
                <a:gd name="T19" fmla="*/ 2030 h 2755"/>
                <a:gd name="T20" fmla="*/ 46 w 1707"/>
                <a:gd name="T21" fmla="*/ 731 h 2755"/>
                <a:gd name="T22" fmla="*/ 973 w 1707"/>
                <a:gd name="T23" fmla="*/ 0 h 2755"/>
                <a:gd name="T24" fmla="*/ 1467 w 1707"/>
                <a:gd name="T25" fmla="*/ 69 h 2755"/>
                <a:gd name="T26" fmla="*/ 1467 w 1707"/>
                <a:gd name="T27" fmla="*/ 479 h 2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07" h="2755">
                  <a:moveTo>
                    <a:pt x="1467" y="479"/>
                  </a:moveTo>
                  <a:cubicBezTo>
                    <a:pt x="1467" y="479"/>
                    <a:pt x="1352" y="277"/>
                    <a:pt x="1019" y="276"/>
                  </a:cubicBezTo>
                  <a:cubicBezTo>
                    <a:pt x="686" y="275"/>
                    <a:pt x="505" y="450"/>
                    <a:pt x="504" y="677"/>
                  </a:cubicBezTo>
                  <a:cubicBezTo>
                    <a:pt x="503" y="934"/>
                    <a:pt x="696" y="1031"/>
                    <a:pt x="995" y="1174"/>
                  </a:cubicBezTo>
                  <a:cubicBezTo>
                    <a:pt x="1279" y="1311"/>
                    <a:pt x="1707" y="1499"/>
                    <a:pt x="1705" y="1974"/>
                  </a:cubicBezTo>
                  <a:cubicBezTo>
                    <a:pt x="1704" y="2399"/>
                    <a:pt x="1327" y="2755"/>
                    <a:pt x="651" y="2755"/>
                  </a:cubicBezTo>
                  <a:cubicBezTo>
                    <a:pt x="442" y="2754"/>
                    <a:pt x="155" y="2686"/>
                    <a:pt x="155" y="2686"/>
                  </a:cubicBezTo>
                  <a:cubicBezTo>
                    <a:pt x="0" y="2177"/>
                    <a:pt x="0" y="2177"/>
                    <a:pt x="0" y="2177"/>
                  </a:cubicBezTo>
                  <a:cubicBezTo>
                    <a:pt x="143" y="2316"/>
                    <a:pt x="397" y="2466"/>
                    <a:pt x="658" y="2466"/>
                  </a:cubicBezTo>
                  <a:cubicBezTo>
                    <a:pt x="929" y="2466"/>
                    <a:pt x="1252" y="2298"/>
                    <a:pt x="1252" y="2030"/>
                  </a:cubicBezTo>
                  <a:cubicBezTo>
                    <a:pt x="1252" y="1512"/>
                    <a:pt x="46" y="1598"/>
                    <a:pt x="46" y="731"/>
                  </a:cubicBezTo>
                  <a:cubicBezTo>
                    <a:pt x="46" y="433"/>
                    <a:pt x="254" y="0"/>
                    <a:pt x="973" y="0"/>
                  </a:cubicBezTo>
                  <a:cubicBezTo>
                    <a:pt x="1207" y="0"/>
                    <a:pt x="1467" y="69"/>
                    <a:pt x="1467" y="69"/>
                  </a:cubicBezTo>
                  <a:lnTo>
                    <a:pt x="1467" y="4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</p:grpSp>
      <p:sp>
        <p:nvSpPr>
          <p:cNvPr id="30" name="テキスト ボックス 29">
            <a:extLst>
              <a:ext uri="{FF2B5EF4-FFF2-40B4-BE49-F238E27FC236}">
                <a16:creationId xmlns:a16="http://schemas.microsoft.com/office/drawing/2014/main" id="{8613DED7-82D0-49B9-8E63-BB17EBF8CE0D}"/>
              </a:ext>
            </a:extLst>
          </p:cNvPr>
          <p:cNvSpPr txBox="1"/>
          <p:nvPr userDrawn="1"/>
        </p:nvSpPr>
        <p:spPr>
          <a:xfrm>
            <a:off x="129600" y="1202889"/>
            <a:ext cx="4315605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ja-JP" sz="4200" b="1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re you ready</a:t>
            </a:r>
            <a:r>
              <a:rPr kumimoji="1" lang="ja-JP" altLang="en-US" sz="4200" b="1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？</a:t>
            </a:r>
          </a:p>
        </p:txBody>
      </p:sp>
    </p:spTree>
    <p:extLst>
      <p:ext uri="{BB962C8B-B14F-4D97-AF65-F5344CB8AC3E}">
        <p14:creationId xmlns:p14="http://schemas.microsoft.com/office/powerpoint/2010/main" val="1167946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597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65D2E666-24B0-4502-8AAF-F673315E46D9}"/>
              </a:ext>
            </a:extLst>
          </p:cNvPr>
          <p:cNvSpPr/>
          <p:nvPr userDrawn="1"/>
        </p:nvSpPr>
        <p:spPr>
          <a:xfrm>
            <a:off x="0" y="0"/>
            <a:ext cx="9144000" cy="513873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err="1">
              <a:solidFill>
                <a:schemeClr val="tx1"/>
              </a:solidFill>
            </a:endParaRPr>
          </a:p>
        </p:txBody>
      </p:sp>
      <p:sp>
        <p:nvSpPr>
          <p:cNvPr id="13" name="フッター プレースホルダー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メイリオ" panose="020B0604030504040204" pitchFamily="50" charset="-128"/>
              </a:defRPr>
            </a:lvl1pPr>
          </a:lstStyle>
          <a:p>
            <a:pPr>
              <a:defRPr/>
            </a:pPr>
            <a:r>
              <a:rPr lang="en-US" altLang="ja-JP">
                <a:solidFill>
                  <a:srgbClr val="000000"/>
                </a:solidFill>
              </a:rPr>
              <a:t>Copyright 2021 FUJITSU LIMITED</a:t>
            </a:r>
            <a:endParaRPr lang="de-DE" altLang="ja-JP">
              <a:solidFill>
                <a:srgbClr val="000000"/>
              </a:solidFill>
            </a:endParaRPr>
          </a:p>
        </p:txBody>
      </p:sp>
      <p:sp>
        <p:nvSpPr>
          <p:cNvPr id="14" name="スライド番号プレースホルダー 4"/>
          <p:cNvSpPr>
            <a:spLocks noGrp="1"/>
          </p:cNvSpPr>
          <p:nvPr>
            <p:ph type="sldNum" sz="quarter" idx="4"/>
          </p:nvPr>
        </p:nvSpPr>
        <p:spPr>
          <a:xfrm>
            <a:off x="4300538" y="4937189"/>
            <a:ext cx="539750" cy="201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US" altLang="ja-JP" smtClean="0"/>
            </a:lvl1pPr>
          </a:lstStyle>
          <a:p>
            <a:fld id="{0B5B02AC-72C7-48A8-B1FA-68CE81373FC9}" type="slidenum">
              <a:rPr lang="en-US" altLang="ja-JP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690951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1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21" Type="http://schemas.openxmlformats.org/officeDocument/2006/relationships/slideLayout" Target="../slideLayouts/slideLayout32.xml"/><Relationship Id="rId34" Type="http://schemas.openxmlformats.org/officeDocument/2006/relationships/slideLayout" Target="../slideLayouts/slideLayout45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slideLayout" Target="../slideLayouts/slideLayout44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slideLayout" Target="../slideLayouts/slideLayout40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36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4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35" Type="http://schemas.openxmlformats.org/officeDocument/2006/relationships/slideLayout" Target="../slideLayouts/slideLayout46.xml"/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image" Target="../media/image23.png"/><Relationship Id="rId5" Type="http://schemas.openxmlformats.org/officeDocument/2006/relationships/slideLayout" Target="../slideLayouts/slideLayout52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図 15">
            <a:extLst>
              <a:ext uri="{FF2B5EF4-FFF2-40B4-BE49-F238E27FC236}">
                <a16:creationId xmlns:a16="http://schemas.microsoft.com/office/drawing/2014/main" id="{1CC55719-5FCA-4A45-9B29-537E445178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83"/>
          <a:stretch/>
        </p:blipFill>
        <p:spPr bwMode="gray">
          <a:xfrm>
            <a:off x="0" y="-4013"/>
            <a:ext cx="9144000" cy="7164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34000" y="30600"/>
            <a:ext cx="7740000" cy="655200"/>
          </a:xfrm>
          <a:prstGeom prst="rect">
            <a:avLst/>
          </a:prstGeom>
        </p:spPr>
        <p:txBody>
          <a:bodyPr vert="horz" lIns="0" tIns="108000" rIns="0" bIns="0" rtlCol="0" anchor="ctr">
            <a:normAutofit/>
          </a:bodyPr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30400" y="950400"/>
            <a:ext cx="8679600" cy="3787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</a:t>
            </a:r>
            <a:r>
              <a:rPr lang="en-US" altLang="ja-JP"/>
              <a:t>2</a:t>
            </a:r>
            <a:r>
              <a:rPr lang="ja-JP" altLang="en-US"/>
              <a:t> レベル</a:t>
            </a:r>
          </a:p>
          <a:p>
            <a:pPr lvl="2"/>
            <a:r>
              <a:rPr lang="ja-JP" altLang="en-US"/>
              <a:t>第</a:t>
            </a:r>
            <a:r>
              <a:rPr lang="en-US" altLang="ja-JP"/>
              <a:t>3</a:t>
            </a:r>
            <a:r>
              <a:rPr lang="ja-JP" altLang="en-US"/>
              <a:t> レベル</a:t>
            </a:r>
          </a:p>
          <a:p>
            <a:pPr lvl="3"/>
            <a:r>
              <a:rPr lang="ja-JP" altLang="en-US"/>
              <a:t>第</a:t>
            </a:r>
            <a:r>
              <a:rPr lang="en-US" altLang="ja-JP"/>
              <a:t>4</a:t>
            </a:r>
            <a:r>
              <a:rPr lang="ja-JP" altLang="en-US"/>
              <a:t> レベル</a:t>
            </a:r>
          </a:p>
          <a:p>
            <a:pPr lvl="4"/>
            <a:r>
              <a:rPr lang="ja-JP" altLang="en-US"/>
              <a:t>第</a:t>
            </a:r>
            <a:r>
              <a:rPr lang="en-US" altLang="ja-JP"/>
              <a:t>5</a:t>
            </a:r>
            <a:r>
              <a:rPr lang="ja-JP" altLang="en-US"/>
              <a:t> レベル</a:t>
            </a:r>
            <a:endParaRPr lang="en-US" altLang="ja-JP"/>
          </a:p>
          <a:p>
            <a:pPr lvl="5"/>
            <a:r>
              <a:rPr lang="ja-JP" altLang="en-US"/>
              <a:t>テキスト</a:t>
            </a:r>
            <a:endParaRPr lang="en-US" altLang="ja-JP"/>
          </a:p>
          <a:p>
            <a:pPr lvl="6"/>
            <a:r>
              <a:rPr lang="ja-JP" altLang="en-US"/>
              <a:t>テキスト</a:t>
            </a:r>
            <a:endParaRPr lang="en-US" altLang="ja-JP"/>
          </a:p>
          <a:p>
            <a:pPr lvl="7"/>
            <a:r>
              <a:rPr lang="ja-JP" altLang="en-US"/>
              <a:t>テキスト</a:t>
            </a:r>
            <a:endParaRPr lang="en-US" altLang="ja-JP"/>
          </a:p>
          <a:p>
            <a:pPr lvl="8"/>
            <a:r>
              <a:rPr lang="ja-JP" altLang="en-US"/>
              <a:t>テキスト</a:t>
            </a:r>
            <a:endParaRPr lang="en-US"/>
          </a:p>
        </p:txBody>
      </p:sp>
      <p:grpSp>
        <p:nvGrpSpPr>
          <p:cNvPr id="24" name="Group 27" descr="Fujitsu">
            <a:extLst>
              <a:ext uri="{FF2B5EF4-FFF2-40B4-BE49-F238E27FC236}">
                <a16:creationId xmlns:a16="http://schemas.microsoft.com/office/drawing/2014/main" id="{A07104EE-4D01-46CC-8925-8219D485EA0D}"/>
              </a:ext>
            </a:extLst>
          </p:cNvPr>
          <p:cNvGrpSpPr/>
          <p:nvPr userDrawn="1"/>
        </p:nvGrpSpPr>
        <p:grpSpPr bwMode="gray">
          <a:xfrm>
            <a:off x="8169274" y="180891"/>
            <a:ext cx="741363" cy="361336"/>
            <a:chOff x="8012114" y="249161"/>
            <a:chExt cx="892174" cy="434841"/>
          </a:xfrm>
        </p:grpSpPr>
        <p:sp>
          <p:nvSpPr>
            <p:cNvPr id="25" name="Freeform 34">
              <a:extLst>
                <a:ext uri="{FF2B5EF4-FFF2-40B4-BE49-F238E27FC236}">
                  <a16:creationId xmlns:a16="http://schemas.microsoft.com/office/drawing/2014/main" id="{DC306A35-3AAE-46F0-AAF9-46A388793D3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307389" y="249161"/>
              <a:ext cx="179387" cy="139657"/>
            </a:xfrm>
            <a:custGeom>
              <a:avLst/>
              <a:gdLst>
                <a:gd name="T0" fmla="*/ 961 w 2365"/>
                <a:gd name="T1" fmla="*/ 764 h 1825"/>
                <a:gd name="T2" fmla="*/ 599 w 2365"/>
                <a:gd name="T3" fmla="*/ 642 h 1825"/>
                <a:gd name="T4" fmla="*/ 1 w 2365"/>
                <a:gd name="T5" fmla="*/ 1235 h 1825"/>
                <a:gd name="T6" fmla="*/ 599 w 2365"/>
                <a:gd name="T7" fmla="*/ 1825 h 1825"/>
                <a:gd name="T8" fmla="*/ 1053 w 2365"/>
                <a:gd name="T9" fmla="*/ 1619 h 1825"/>
                <a:gd name="T10" fmla="*/ 1053 w 2365"/>
                <a:gd name="T11" fmla="*/ 1293 h 1825"/>
                <a:gd name="T12" fmla="*/ 771 w 2365"/>
                <a:gd name="T13" fmla="*/ 1568 h 1825"/>
                <a:gd name="T14" fmla="*/ 599 w 2365"/>
                <a:gd name="T15" fmla="*/ 1604 h 1825"/>
                <a:gd name="T16" fmla="*/ 225 w 2365"/>
                <a:gd name="T17" fmla="*/ 1235 h 1825"/>
                <a:gd name="T18" fmla="*/ 599 w 2365"/>
                <a:gd name="T19" fmla="*/ 863 h 1825"/>
                <a:gd name="T20" fmla="*/ 861 w 2365"/>
                <a:gd name="T21" fmla="*/ 972 h 1825"/>
                <a:gd name="T22" fmla="*/ 1093 w 2365"/>
                <a:gd name="T23" fmla="*/ 1239 h 1825"/>
                <a:gd name="T24" fmla="*/ 1630 w 2365"/>
                <a:gd name="T25" fmla="*/ 1473 h 1825"/>
                <a:gd name="T26" fmla="*/ 2365 w 2365"/>
                <a:gd name="T27" fmla="*/ 741 h 1825"/>
                <a:gd name="T28" fmla="*/ 1630 w 2365"/>
                <a:gd name="T29" fmla="*/ 0 h 1825"/>
                <a:gd name="T30" fmla="*/ 1053 w 2365"/>
                <a:gd name="T31" fmla="*/ 295 h 1825"/>
                <a:gd name="T32" fmla="*/ 1053 w 2365"/>
                <a:gd name="T33" fmla="*/ 735 h 1825"/>
                <a:gd name="T34" fmla="*/ 1630 w 2365"/>
                <a:gd name="T35" fmla="*/ 232 h 1825"/>
                <a:gd name="T36" fmla="*/ 2134 w 2365"/>
                <a:gd name="T37" fmla="*/ 741 h 1825"/>
                <a:gd name="T38" fmla="*/ 1630 w 2365"/>
                <a:gd name="T39" fmla="*/ 1245 h 1825"/>
                <a:gd name="T40" fmla="*/ 1303 w 2365"/>
                <a:gd name="T41" fmla="*/ 1125 h 1825"/>
                <a:gd name="T42" fmla="*/ 961 w 2365"/>
                <a:gd name="T43" fmla="*/ 764 h 18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65" h="1825">
                  <a:moveTo>
                    <a:pt x="961" y="764"/>
                  </a:moveTo>
                  <a:cubicBezTo>
                    <a:pt x="875" y="688"/>
                    <a:pt x="736" y="643"/>
                    <a:pt x="599" y="642"/>
                  </a:cubicBezTo>
                  <a:cubicBezTo>
                    <a:pt x="270" y="641"/>
                    <a:pt x="2" y="900"/>
                    <a:pt x="1" y="1235"/>
                  </a:cubicBezTo>
                  <a:cubicBezTo>
                    <a:pt x="0" y="1563"/>
                    <a:pt x="270" y="1824"/>
                    <a:pt x="599" y="1825"/>
                  </a:cubicBezTo>
                  <a:cubicBezTo>
                    <a:pt x="783" y="1825"/>
                    <a:pt x="943" y="1751"/>
                    <a:pt x="1053" y="1619"/>
                  </a:cubicBezTo>
                  <a:cubicBezTo>
                    <a:pt x="1053" y="1293"/>
                    <a:pt x="1053" y="1293"/>
                    <a:pt x="1053" y="1293"/>
                  </a:cubicBezTo>
                  <a:cubicBezTo>
                    <a:pt x="994" y="1394"/>
                    <a:pt x="877" y="1524"/>
                    <a:pt x="771" y="1568"/>
                  </a:cubicBezTo>
                  <a:cubicBezTo>
                    <a:pt x="717" y="1590"/>
                    <a:pt x="662" y="1604"/>
                    <a:pt x="599" y="1604"/>
                  </a:cubicBezTo>
                  <a:cubicBezTo>
                    <a:pt x="394" y="1604"/>
                    <a:pt x="225" y="1445"/>
                    <a:pt x="225" y="1235"/>
                  </a:cubicBezTo>
                  <a:cubicBezTo>
                    <a:pt x="225" y="1041"/>
                    <a:pt x="380" y="862"/>
                    <a:pt x="599" y="863"/>
                  </a:cubicBezTo>
                  <a:cubicBezTo>
                    <a:pt x="701" y="863"/>
                    <a:pt x="793" y="905"/>
                    <a:pt x="861" y="972"/>
                  </a:cubicBezTo>
                  <a:cubicBezTo>
                    <a:pt x="931" y="1040"/>
                    <a:pt x="1041" y="1183"/>
                    <a:pt x="1093" y="1239"/>
                  </a:cubicBezTo>
                  <a:cubicBezTo>
                    <a:pt x="1227" y="1383"/>
                    <a:pt x="1419" y="1473"/>
                    <a:pt x="1630" y="1473"/>
                  </a:cubicBezTo>
                  <a:cubicBezTo>
                    <a:pt x="2036" y="1474"/>
                    <a:pt x="2365" y="1146"/>
                    <a:pt x="2365" y="741"/>
                  </a:cubicBezTo>
                  <a:cubicBezTo>
                    <a:pt x="2365" y="336"/>
                    <a:pt x="2035" y="0"/>
                    <a:pt x="1630" y="0"/>
                  </a:cubicBezTo>
                  <a:cubicBezTo>
                    <a:pt x="1395" y="0"/>
                    <a:pt x="1187" y="122"/>
                    <a:pt x="1053" y="295"/>
                  </a:cubicBezTo>
                  <a:cubicBezTo>
                    <a:pt x="1053" y="735"/>
                    <a:pt x="1053" y="735"/>
                    <a:pt x="1053" y="735"/>
                  </a:cubicBezTo>
                  <a:cubicBezTo>
                    <a:pt x="1155" y="455"/>
                    <a:pt x="1340" y="232"/>
                    <a:pt x="1630" y="232"/>
                  </a:cubicBezTo>
                  <a:cubicBezTo>
                    <a:pt x="1909" y="232"/>
                    <a:pt x="2135" y="463"/>
                    <a:pt x="2134" y="741"/>
                  </a:cubicBezTo>
                  <a:cubicBezTo>
                    <a:pt x="2134" y="1020"/>
                    <a:pt x="1909" y="1246"/>
                    <a:pt x="1630" y="1245"/>
                  </a:cubicBezTo>
                  <a:cubicBezTo>
                    <a:pt x="1506" y="1244"/>
                    <a:pt x="1391" y="1199"/>
                    <a:pt x="1303" y="1125"/>
                  </a:cubicBezTo>
                  <a:cubicBezTo>
                    <a:pt x="1194" y="1040"/>
                    <a:pt x="1074" y="860"/>
                    <a:pt x="961" y="76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6" name="Freeform 35">
              <a:extLst>
                <a:ext uri="{FF2B5EF4-FFF2-40B4-BE49-F238E27FC236}">
                  <a16:creationId xmlns:a16="http://schemas.microsoft.com/office/drawing/2014/main" id="{11903FFF-471E-47B8-935B-CD39B18D8F95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012114" y="401514"/>
              <a:ext cx="123825" cy="201551"/>
            </a:xfrm>
            <a:custGeom>
              <a:avLst/>
              <a:gdLst>
                <a:gd name="T0" fmla="*/ 0 w 1624"/>
                <a:gd name="T1" fmla="*/ 0 h 2651"/>
                <a:gd name="T2" fmla="*/ 1624 w 1624"/>
                <a:gd name="T3" fmla="*/ 0 h 2651"/>
                <a:gd name="T4" fmla="*/ 1624 w 1624"/>
                <a:gd name="T5" fmla="*/ 452 h 2651"/>
                <a:gd name="T6" fmla="*/ 1365 w 1624"/>
                <a:gd name="T7" fmla="*/ 273 h 2651"/>
                <a:gd name="T8" fmla="*/ 613 w 1624"/>
                <a:gd name="T9" fmla="*/ 273 h 2651"/>
                <a:gd name="T10" fmla="*/ 613 w 1624"/>
                <a:gd name="T11" fmla="*/ 1053 h 2651"/>
                <a:gd name="T12" fmla="*/ 1428 w 1624"/>
                <a:gd name="T13" fmla="*/ 1053 h 2651"/>
                <a:gd name="T14" fmla="*/ 1428 w 1624"/>
                <a:gd name="T15" fmla="*/ 1467 h 2651"/>
                <a:gd name="T16" fmla="*/ 1205 w 1624"/>
                <a:gd name="T17" fmla="*/ 1335 h 2651"/>
                <a:gd name="T18" fmla="*/ 613 w 1624"/>
                <a:gd name="T19" fmla="*/ 1335 h 2651"/>
                <a:gd name="T20" fmla="*/ 613 w 1624"/>
                <a:gd name="T21" fmla="*/ 2401 h 2651"/>
                <a:gd name="T22" fmla="*/ 784 w 1624"/>
                <a:gd name="T23" fmla="*/ 2651 h 2651"/>
                <a:gd name="T24" fmla="*/ 11 w 1624"/>
                <a:gd name="T25" fmla="*/ 2651 h 2651"/>
                <a:gd name="T26" fmla="*/ 173 w 1624"/>
                <a:gd name="T27" fmla="*/ 2401 h 2651"/>
                <a:gd name="T28" fmla="*/ 173 w 1624"/>
                <a:gd name="T29" fmla="*/ 278 h 2651"/>
                <a:gd name="T30" fmla="*/ 0 w 1624"/>
                <a:gd name="T31" fmla="*/ 0 h 2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624" h="2651">
                  <a:moveTo>
                    <a:pt x="0" y="0"/>
                  </a:moveTo>
                  <a:cubicBezTo>
                    <a:pt x="1624" y="0"/>
                    <a:pt x="1624" y="0"/>
                    <a:pt x="1624" y="0"/>
                  </a:cubicBezTo>
                  <a:cubicBezTo>
                    <a:pt x="1624" y="452"/>
                    <a:pt x="1624" y="452"/>
                    <a:pt x="1624" y="452"/>
                  </a:cubicBezTo>
                  <a:cubicBezTo>
                    <a:pt x="1624" y="452"/>
                    <a:pt x="1540" y="274"/>
                    <a:pt x="1365" y="273"/>
                  </a:cubicBezTo>
                  <a:cubicBezTo>
                    <a:pt x="613" y="273"/>
                    <a:pt x="613" y="273"/>
                    <a:pt x="613" y="273"/>
                  </a:cubicBezTo>
                  <a:cubicBezTo>
                    <a:pt x="613" y="1053"/>
                    <a:pt x="613" y="1053"/>
                    <a:pt x="613" y="1053"/>
                  </a:cubicBezTo>
                  <a:cubicBezTo>
                    <a:pt x="1428" y="1053"/>
                    <a:pt x="1428" y="1053"/>
                    <a:pt x="1428" y="1053"/>
                  </a:cubicBezTo>
                  <a:cubicBezTo>
                    <a:pt x="1428" y="1467"/>
                    <a:pt x="1428" y="1467"/>
                    <a:pt x="1428" y="1467"/>
                  </a:cubicBezTo>
                  <a:cubicBezTo>
                    <a:pt x="1428" y="1467"/>
                    <a:pt x="1402" y="1335"/>
                    <a:pt x="1205" y="1335"/>
                  </a:cubicBezTo>
                  <a:cubicBezTo>
                    <a:pt x="613" y="1335"/>
                    <a:pt x="613" y="1335"/>
                    <a:pt x="613" y="1335"/>
                  </a:cubicBezTo>
                  <a:cubicBezTo>
                    <a:pt x="613" y="2401"/>
                    <a:pt x="613" y="2401"/>
                    <a:pt x="613" y="2401"/>
                  </a:cubicBezTo>
                  <a:cubicBezTo>
                    <a:pt x="613" y="2558"/>
                    <a:pt x="784" y="2651"/>
                    <a:pt x="784" y="2651"/>
                  </a:cubicBezTo>
                  <a:cubicBezTo>
                    <a:pt x="11" y="2651"/>
                    <a:pt x="11" y="2651"/>
                    <a:pt x="11" y="2651"/>
                  </a:cubicBezTo>
                  <a:cubicBezTo>
                    <a:pt x="11" y="2651"/>
                    <a:pt x="173" y="2569"/>
                    <a:pt x="173" y="2401"/>
                  </a:cubicBezTo>
                  <a:cubicBezTo>
                    <a:pt x="173" y="278"/>
                    <a:pt x="173" y="278"/>
                    <a:pt x="173" y="278"/>
                  </a:cubicBezTo>
                  <a:cubicBezTo>
                    <a:pt x="173" y="9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7" name="Freeform 36">
              <a:extLst>
                <a:ext uri="{FF2B5EF4-FFF2-40B4-BE49-F238E27FC236}">
                  <a16:creationId xmlns:a16="http://schemas.microsoft.com/office/drawing/2014/main" id="{671BE6C8-767D-4D59-881D-429EB92BA14C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305801" y="401514"/>
              <a:ext cx="80962" cy="282488"/>
            </a:xfrm>
            <a:custGeom>
              <a:avLst/>
              <a:gdLst>
                <a:gd name="T0" fmla="*/ 246 w 1072"/>
                <a:gd name="T1" fmla="*/ 0 h 3696"/>
                <a:gd name="T2" fmla="*/ 1072 w 1072"/>
                <a:gd name="T3" fmla="*/ 0 h 3696"/>
                <a:gd name="T4" fmla="*/ 887 w 1072"/>
                <a:gd name="T5" fmla="*/ 230 h 3696"/>
                <a:gd name="T6" fmla="*/ 887 w 1072"/>
                <a:gd name="T7" fmla="*/ 2717 h 3696"/>
                <a:gd name="T8" fmla="*/ 0 w 1072"/>
                <a:gd name="T9" fmla="*/ 3693 h 3696"/>
                <a:gd name="T10" fmla="*/ 423 w 1072"/>
                <a:gd name="T11" fmla="*/ 2717 h 3696"/>
                <a:gd name="T12" fmla="*/ 423 w 1072"/>
                <a:gd name="T13" fmla="*/ 230 h 3696"/>
                <a:gd name="T14" fmla="*/ 246 w 1072"/>
                <a:gd name="T15" fmla="*/ 0 h 36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72" h="3696">
                  <a:moveTo>
                    <a:pt x="246" y="0"/>
                  </a:moveTo>
                  <a:cubicBezTo>
                    <a:pt x="1072" y="0"/>
                    <a:pt x="1072" y="0"/>
                    <a:pt x="1072" y="0"/>
                  </a:cubicBezTo>
                  <a:cubicBezTo>
                    <a:pt x="1072" y="0"/>
                    <a:pt x="887" y="87"/>
                    <a:pt x="887" y="230"/>
                  </a:cubicBezTo>
                  <a:cubicBezTo>
                    <a:pt x="887" y="2717"/>
                    <a:pt x="887" y="2717"/>
                    <a:pt x="887" y="2717"/>
                  </a:cubicBezTo>
                  <a:cubicBezTo>
                    <a:pt x="887" y="3558"/>
                    <a:pt x="44" y="3696"/>
                    <a:pt x="0" y="3693"/>
                  </a:cubicBezTo>
                  <a:cubicBezTo>
                    <a:pt x="72" y="3647"/>
                    <a:pt x="422" y="3349"/>
                    <a:pt x="423" y="2717"/>
                  </a:cubicBezTo>
                  <a:cubicBezTo>
                    <a:pt x="423" y="230"/>
                    <a:pt x="423" y="230"/>
                    <a:pt x="423" y="230"/>
                  </a:cubicBezTo>
                  <a:cubicBezTo>
                    <a:pt x="424" y="96"/>
                    <a:pt x="246" y="0"/>
                    <a:pt x="24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8" name="Freeform 37">
              <a:extLst>
                <a:ext uri="{FF2B5EF4-FFF2-40B4-BE49-F238E27FC236}">
                  <a16:creationId xmlns:a16="http://schemas.microsoft.com/office/drawing/2014/main" id="{D18DC024-7E92-4916-AAE6-1F645CDFB68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396289" y="401514"/>
              <a:ext cx="63500" cy="201551"/>
            </a:xfrm>
            <a:custGeom>
              <a:avLst/>
              <a:gdLst>
                <a:gd name="T0" fmla="*/ 0 w 828"/>
                <a:gd name="T1" fmla="*/ 0 h 2653"/>
                <a:gd name="T2" fmla="*/ 828 w 828"/>
                <a:gd name="T3" fmla="*/ 0 h 2653"/>
                <a:gd name="T4" fmla="*/ 645 w 828"/>
                <a:gd name="T5" fmla="*/ 235 h 2653"/>
                <a:gd name="T6" fmla="*/ 645 w 828"/>
                <a:gd name="T7" fmla="*/ 2401 h 2653"/>
                <a:gd name="T8" fmla="*/ 828 w 828"/>
                <a:gd name="T9" fmla="*/ 2653 h 2653"/>
                <a:gd name="T10" fmla="*/ 0 w 828"/>
                <a:gd name="T11" fmla="*/ 2653 h 2653"/>
                <a:gd name="T12" fmla="*/ 184 w 828"/>
                <a:gd name="T13" fmla="*/ 2401 h 2653"/>
                <a:gd name="T14" fmla="*/ 184 w 828"/>
                <a:gd name="T15" fmla="*/ 235 h 2653"/>
                <a:gd name="T16" fmla="*/ 0 w 828"/>
                <a:gd name="T17" fmla="*/ 0 h 26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28" h="2653">
                  <a:moveTo>
                    <a:pt x="0" y="0"/>
                  </a:moveTo>
                  <a:cubicBezTo>
                    <a:pt x="828" y="0"/>
                    <a:pt x="828" y="0"/>
                    <a:pt x="828" y="0"/>
                  </a:cubicBezTo>
                  <a:cubicBezTo>
                    <a:pt x="828" y="0"/>
                    <a:pt x="645" y="89"/>
                    <a:pt x="645" y="235"/>
                  </a:cubicBezTo>
                  <a:cubicBezTo>
                    <a:pt x="645" y="2401"/>
                    <a:pt x="645" y="2401"/>
                    <a:pt x="645" y="2401"/>
                  </a:cubicBezTo>
                  <a:cubicBezTo>
                    <a:pt x="645" y="2556"/>
                    <a:pt x="828" y="2653"/>
                    <a:pt x="828" y="2653"/>
                  </a:cubicBezTo>
                  <a:cubicBezTo>
                    <a:pt x="0" y="2653"/>
                    <a:pt x="0" y="2653"/>
                    <a:pt x="0" y="2653"/>
                  </a:cubicBezTo>
                  <a:cubicBezTo>
                    <a:pt x="0" y="2653"/>
                    <a:pt x="184" y="2557"/>
                    <a:pt x="184" y="2401"/>
                  </a:cubicBezTo>
                  <a:cubicBezTo>
                    <a:pt x="184" y="235"/>
                    <a:pt x="184" y="235"/>
                    <a:pt x="184" y="235"/>
                  </a:cubicBezTo>
                  <a:cubicBezTo>
                    <a:pt x="184" y="8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9" name="Freeform 38">
              <a:extLst>
                <a:ext uri="{FF2B5EF4-FFF2-40B4-BE49-F238E27FC236}">
                  <a16:creationId xmlns:a16="http://schemas.microsoft.com/office/drawing/2014/main" id="{B7CF43AA-546E-4C2B-933E-7F30C4469D1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459789" y="401514"/>
              <a:ext cx="150812" cy="201551"/>
            </a:xfrm>
            <a:custGeom>
              <a:avLst/>
              <a:gdLst>
                <a:gd name="T0" fmla="*/ 161 w 1984"/>
                <a:gd name="T1" fmla="*/ 0 h 2651"/>
                <a:gd name="T2" fmla="*/ 1984 w 1984"/>
                <a:gd name="T3" fmla="*/ 0 h 2651"/>
                <a:gd name="T4" fmla="*/ 1829 w 1984"/>
                <a:gd name="T5" fmla="*/ 482 h 2651"/>
                <a:gd name="T6" fmla="*/ 1607 w 1984"/>
                <a:gd name="T7" fmla="*/ 279 h 2651"/>
                <a:gd name="T8" fmla="*/ 1229 w 1984"/>
                <a:gd name="T9" fmla="*/ 279 h 2651"/>
                <a:gd name="T10" fmla="*/ 1229 w 1984"/>
                <a:gd name="T11" fmla="*/ 2401 h 2651"/>
                <a:gd name="T12" fmla="*/ 1407 w 1984"/>
                <a:gd name="T13" fmla="*/ 2651 h 2651"/>
                <a:gd name="T14" fmla="*/ 595 w 1984"/>
                <a:gd name="T15" fmla="*/ 2651 h 2651"/>
                <a:gd name="T16" fmla="*/ 771 w 1984"/>
                <a:gd name="T17" fmla="*/ 2401 h 2651"/>
                <a:gd name="T18" fmla="*/ 771 w 1984"/>
                <a:gd name="T19" fmla="*/ 279 h 2651"/>
                <a:gd name="T20" fmla="*/ 315 w 1984"/>
                <a:gd name="T21" fmla="*/ 279 h 2651"/>
                <a:gd name="T22" fmla="*/ 0 w 1984"/>
                <a:gd name="T23" fmla="*/ 522 h 2651"/>
                <a:gd name="T24" fmla="*/ 161 w 1984"/>
                <a:gd name="T25" fmla="*/ 0 h 2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84" h="2651">
                  <a:moveTo>
                    <a:pt x="161" y="0"/>
                  </a:moveTo>
                  <a:cubicBezTo>
                    <a:pt x="1984" y="0"/>
                    <a:pt x="1984" y="0"/>
                    <a:pt x="1984" y="0"/>
                  </a:cubicBezTo>
                  <a:cubicBezTo>
                    <a:pt x="1829" y="482"/>
                    <a:pt x="1829" y="482"/>
                    <a:pt x="1829" y="482"/>
                  </a:cubicBezTo>
                  <a:cubicBezTo>
                    <a:pt x="1829" y="482"/>
                    <a:pt x="1783" y="279"/>
                    <a:pt x="1607" y="279"/>
                  </a:cubicBezTo>
                  <a:cubicBezTo>
                    <a:pt x="1229" y="279"/>
                    <a:pt x="1229" y="279"/>
                    <a:pt x="1229" y="279"/>
                  </a:cubicBezTo>
                  <a:cubicBezTo>
                    <a:pt x="1229" y="2401"/>
                    <a:pt x="1229" y="2401"/>
                    <a:pt x="1229" y="2401"/>
                  </a:cubicBezTo>
                  <a:cubicBezTo>
                    <a:pt x="1229" y="2535"/>
                    <a:pt x="1407" y="2651"/>
                    <a:pt x="1407" y="2651"/>
                  </a:cubicBezTo>
                  <a:cubicBezTo>
                    <a:pt x="595" y="2651"/>
                    <a:pt x="595" y="2651"/>
                    <a:pt x="595" y="2651"/>
                  </a:cubicBezTo>
                  <a:cubicBezTo>
                    <a:pt x="595" y="2651"/>
                    <a:pt x="771" y="2547"/>
                    <a:pt x="771" y="2401"/>
                  </a:cubicBezTo>
                  <a:cubicBezTo>
                    <a:pt x="771" y="279"/>
                    <a:pt x="771" y="279"/>
                    <a:pt x="771" y="279"/>
                  </a:cubicBezTo>
                  <a:cubicBezTo>
                    <a:pt x="315" y="279"/>
                    <a:pt x="315" y="279"/>
                    <a:pt x="315" y="279"/>
                  </a:cubicBezTo>
                  <a:cubicBezTo>
                    <a:pt x="185" y="280"/>
                    <a:pt x="0" y="522"/>
                    <a:pt x="0" y="522"/>
                  </a:cubicBezTo>
                  <a:lnTo>
                    <a:pt x="16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30" name="Freeform 39">
              <a:extLst>
                <a:ext uri="{FF2B5EF4-FFF2-40B4-BE49-F238E27FC236}">
                  <a16:creationId xmlns:a16="http://schemas.microsoft.com/office/drawing/2014/main" id="{FF1F7038-0943-4E45-AF4F-011183ACAE7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734426" y="401514"/>
              <a:ext cx="169862" cy="204725"/>
            </a:xfrm>
            <a:custGeom>
              <a:avLst/>
              <a:gdLst>
                <a:gd name="T0" fmla="*/ 1420 w 2219"/>
                <a:gd name="T1" fmla="*/ 0 h 2693"/>
                <a:gd name="T2" fmla="*/ 2219 w 2219"/>
                <a:gd name="T3" fmla="*/ 0 h 2693"/>
                <a:gd name="T4" fmla="*/ 2048 w 2219"/>
                <a:gd name="T5" fmla="*/ 234 h 2693"/>
                <a:gd name="T6" fmla="*/ 2048 w 2219"/>
                <a:gd name="T7" fmla="*/ 1840 h 2693"/>
                <a:gd name="T8" fmla="*/ 1131 w 2219"/>
                <a:gd name="T9" fmla="*/ 2693 h 2693"/>
                <a:gd name="T10" fmla="*/ 176 w 2219"/>
                <a:gd name="T11" fmla="*/ 1840 h 2693"/>
                <a:gd name="T12" fmla="*/ 176 w 2219"/>
                <a:gd name="T13" fmla="*/ 234 h 2693"/>
                <a:gd name="T14" fmla="*/ 0 w 2219"/>
                <a:gd name="T15" fmla="*/ 0 h 2693"/>
                <a:gd name="T16" fmla="*/ 821 w 2219"/>
                <a:gd name="T17" fmla="*/ 0 h 2693"/>
                <a:gd name="T18" fmla="*/ 638 w 2219"/>
                <a:gd name="T19" fmla="*/ 234 h 2693"/>
                <a:gd name="T20" fmla="*/ 638 w 2219"/>
                <a:gd name="T21" fmla="*/ 1840 h 2693"/>
                <a:gd name="T22" fmla="*/ 1131 w 2219"/>
                <a:gd name="T23" fmla="*/ 2406 h 2693"/>
                <a:gd name="T24" fmla="*/ 1601 w 2219"/>
                <a:gd name="T25" fmla="*/ 1840 h 2693"/>
                <a:gd name="T26" fmla="*/ 1601 w 2219"/>
                <a:gd name="T27" fmla="*/ 234 h 2693"/>
                <a:gd name="T28" fmla="*/ 1420 w 2219"/>
                <a:gd name="T29" fmla="*/ 0 h 26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219" h="2693">
                  <a:moveTo>
                    <a:pt x="1420" y="0"/>
                  </a:moveTo>
                  <a:cubicBezTo>
                    <a:pt x="2219" y="0"/>
                    <a:pt x="2219" y="0"/>
                    <a:pt x="2219" y="0"/>
                  </a:cubicBezTo>
                  <a:cubicBezTo>
                    <a:pt x="2219" y="0"/>
                    <a:pt x="2048" y="91"/>
                    <a:pt x="2048" y="234"/>
                  </a:cubicBezTo>
                  <a:cubicBezTo>
                    <a:pt x="2048" y="1840"/>
                    <a:pt x="2048" y="1840"/>
                    <a:pt x="2048" y="1840"/>
                  </a:cubicBezTo>
                  <a:cubicBezTo>
                    <a:pt x="2047" y="2492"/>
                    <a:pt x="1506" y="2693"/>
                    <a:pt x="1131" y="2693"/>
                  </a:cubicBezTo>
                  <a:cubicBezTo>
                    <a:pt x="759" y="2693"/>
                    <a:pt x="175" y="2490"/>
                    <a:pt x="176" y="1840"/>
                  </a:cubicBezTo>
                  <a:cubicBezTo>
                    <a:pt x="176" y="234"/>
                    <a:pt x="176" y="234"/>
                    <a:pt x="176" y="234"/>
                  </a:cubicBezTo>
                  <a:cubicBezTo>
                    <a:pt x="176" y="91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8" y="88"/>
                    <a:pt x="638" y="234"/>
                  </a:cubicBezTo>
                  <a:cubicBezTo>
                    <a:pt x="638" y="1840"/>
                    <a:pt x="638" y="1840"/>
                    <a:pt x="638" y="1840"/>
                  </a:cubicBezTo>
                  <a:cubicBezTo>
                    <a:pt x="638" y="2182"/>
                    <a:pt x="865" y="2406"/>
                    <a:pt x="1131" y="2406"/>
                  </a:cubicBezTo>
                  <a:cubicBezTo>
                    <a:pt x="1397" y="2406"/>
                    <a:pt x="1600" y="2173"/>
                    <a:pt x="1601" y="1840"/>
                  </a:cubicBezTo>
                  <a:cubicBezTo>
                    <a:pt x="1601" y="234"/>
                    <a:pt x="1601" y="234"/>
                    <a:pt x="1601" y="234"/>
                  </a:cubicBezTo>
                  <a:cubicBezTo>
                    <a:pt x="1601" y="91"/>
                    <a:pt x="1420" y="0"/>
                    <a:pt x="142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31" name="Freeform 40">
              <a:extLst>
                <a:ext uri="{FF2B5EF4-FFF2-40B4-BE49-F238E27FC236}">
                  <a16:creationId xmlns:a16="http://schemas.microsoft.com/office/drawing/2014/main" id="{1D5D1B76-1664-428D-9E03-BB04B259513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142289" y="401514"/>
              <a:ext cx="169862" cy="206312"/>
            </a:xfrm>
            <a:custGeom>
              <a:avLst/>
              <a:gdLst>
                <a:gd name="T0" fmla="*/ 1427 w 2240"/>
                <a:gd name="T1" fmla="*/ 0 h 2700"/>
                <a:gd name="T2" fmla="*/ 2240 w 2240"/>
                <a:gd name="T3" fmla="*/ 0 h 2700"/>
                <a:gd name="T4" fmla="*/ 2068 w 2240"/>
                <a:gd name="T5" fmla="*/ 237 h 2700"/>
                <a:gd name="T6" fmla="*/ 2067 w 2240"/>
                <a:gd name="T7" fmla="*/ 1838 h 2700"/>
                <a:gd name="T8" fmla="*/ 1122 w 2240"/>
                <a:gd name="T9" fmla="*/ 2700 h 2700"/>
                <a:gd name="T10" fmla="*/ 166 w 2240"/>
                <a:gd name="T11" fmla="*/ 1838 h 2700"/>
                <a:gd name="T12" fmla="*/ 166 w 2240"/>
                <a:gd name="T13" fmla="*/ 237 h 2700"/>
                <a:gd name="T14" fmla="*/ 0 w 2240"/>
                <a:gd name="T15" fmla="*/ 0 h 2700"/>
                <a:gd name="T16" fmla="*/ 821 w 2240"/>
                <a:gd name="T17" fmla="*/ 0 h 2700"/>
                <a:gd name="T18" fmla="*/ 631 w 2240"/>
                <a:gd name="T19" fmla="*/ 237 h 2700"/>
                <a:gd name="T20" fmla="*/ 630 w 2240"/>
                <a:gd name="T21" fmla="*/ 1838 h 2700"/>
                <a:gd name="T22" fmla="*/ 1122 w 2240"/>
                <a:gd name="T23" fmla="*/ 2413 h 2700"/>
                <a:gd name="T24" fmla="*/ 1602 w 2240"/>
                <a:gd name="T25" fmla="*/ 1838 h 2700"/>
                <a:gd name="T26" fmla="*/ 1603 w 2240"/>
                <a:gd name="T27" fmla="*/ 237 h 2700"/>
                <a:gd name="T28" fmla="*/ 1427 w 2240"/>
                <a:gd name="T29" fmla="*/ 0 h 27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240" h="2700">
                  <a:moveTo>
                    <a:pt x="1427" y="0"/>
                  </a:moveTo>
                  <a:cubicBezTo>
                    <a:pt x="2240" y="0"/>
                    <a:pt x="2240" y="0"/>
                    <a:pt x="2240" y="0"/>
                  </a:cubicBezTo>
                  <a:cubicBezTo>
                    <a:pt x="2240" y="0"/>
                    <a:pt x="2068" y="95"/>
                    <a:pt x="2068" y="237"/>
                  </a:cubicBezTo>
                  <a:cubicBezTo>
                    <a:pt x="2068" y="238"/>
                    <a:pt x="2067" y="1838"/>
                    <a:pt x="2067" y="1838"/>
                  </a:cubicBezTo>
                  <a:cubicBezTo>
                    <a:pt x="2067" y="2494"/>
                    <a:pt x="1501" y="2700"/>
                    <a:pt x="1122" y="2700"/>
                  </a:cubicBezTo>
                  <a:cubicBezTo>
                    <a:pt x="750" y="2700"/>
                    <a:pt x="166" y="2491"/>
                    <a:pt x="166" y="1838"/>
                  </a:cubicBezTo>
                  <a:cubicBezTo>
                    <a:pt x="166" y="237"/>
                    <a:pt x="166" y="237"/>
                    <a:pt x="166" y="237"/>
                  </a:cubicBezTo>
                  <a:cubicBezTo>
                    <a:pt x="166" y="94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1" y="94"/>
                    <a:pt x="631" y="237"/>
                  </a:cubicBezTo>
                  <a:cubicBezTo>
                    <a:pt x="630" y="1838"/>
                    <a:pt x="630" y="1838"/>
                    <a:pt x="630" y="1838"/>
                  </a:cubicBezTo>
                  <a:cubicBezTo>
                    <a:pt x="630" y="2178"/>
                    <a:pt x="856" y="2412"/>
                    <a:pt x="1122" y="2413"/>
                  </a:cubicBezTo>
                  <a:cubicBezTo>
                    <a:pt x="1388" y="2414"/>
                    <a:pt x="1602" y="2174"/>
                    <a:pt x="1602" y="1838"/>
                  </a:cubicBezTo>
                  <a:cubicBezTo>
                    <a:pt x="1603" y="237"/>
                    <a:pt x="1603" y="237"/>
                    <a:pt x="1603" y="237"/>
                  </a:cubicBezTo>
                  <a:cubicBezTo>
                    <a:pt x="1603" y="94"/>
                    <a:pt x="1427" y="0"/>
                    <a:pt x="142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32" name="Freeform 41">
              <a:extLst>
                <a:ext uri="{FF2B5EF4-FFF2-40B4-BE49-F238E27FC236}">
                  <a16:creationId xmlns:a16="http://schemas.microsoft.com/office/drawing/2014/main" id="{CABF1A31-A3C1-40C7-B3A4-04BCF3CB3D3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604251" y="396753"/>
              <a:ext cx="130175" cy="211073"/>
            </a:xfrm>
            <a:custGeom>
              <a:avLst/>
              <a:gdLst>
                <a:gd name="T0" fmla="*/ 1467 w 1707"/>
                <a:gd name="T1" fmla="*/ 479 h 2755"/>
                <a:gd name="T2" fmla="*/ 1019 w 1707"/>
                <a:gd name="T3" fmla="*/ 276 h 2755"/>
                <a:gd name="T4" fmla="*/ 504 w 1707"/>
                <a:gd name="T5" fmla="*/ 677 h 2755"/>
                <a:gd name="T6" fmla="*/ 995 w 1707"/>
                <a:gd name="T7" fmla="*/ 1174 h 2755"/>
                <a:gd name="T8" fmla="*/ 1705 w 1707"/>
                <a:gd name="T9" fmla="*/ 1974 h 2755"/>
                <a:gd name="T10" fmla="*/ 651 w 1707"/>
                <a:gd name="T11" fmla="*/ 2755 h 2755"/>
                <a:gd name="T12" fmla="*/ 155 w 1707"/>
                <a:gd name="T13" fmla="*/ 2686 h 2755"/>
                <a:gd name="T14" fmla="*/ 0 w 1707"/>
                <a:gd name="T15" fmla="*/ 2177 h 2755"/>
                <a:gd name="T16" fmla="*/ 658 w 1707"/>
                <a:gd name="T17" fmla="*/ 2466 h 2755"/>
                <a:gd name="T18" fmla="*/ 1252 w 1707"/>
                <a:gd name="T19" fmla="*/ 2030 h 2755"/>
                <a:gd name="T20" fmla="*/ 46 w 1707"/>
                <a:gd name="T21" fmla="*/ 731 h 2755"/>
                <a:gd name="T22" fmla="*/ 973 w 1707"/>
                <a:gd name="T23" fmla="*/ 0 h 2755"/>
                <a:gd name="T24" fmla="*/ 1467 w 1707"/>
                <a:gd name="T25" fmla="*/ 69 h 2755"/>
                <a:gd name="T26" fmla="*/ 1467 w 1707"/>
                <a:gd name="T27" fmla="*/ 479 h 2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07" h="2755">
                  <a:moveTo>
                    <a:pt x="1467" y="479"/>
                  </a:moveTo>
                  <a:cubicBezTo>
                    <a:pt x="1467" y="479"/>
                    <a:pt x="1352" y="277"/>
                    <a:pt x="1019" y="276"/>
                  </a:cubicBezTo>
                  <a:cubicBezTo>
                    <a:pt x="686" y="275"/>
                    <a:pt x="505" y="450"/>
                    <a:pt x="504" y="677"/>
                  </a:cubicBezTo>
                  <a:cubicBezTo>
                    <a:pt x="503" y="934"/>
                    <a:pt x="696" y="1031"/>
                    <a:pt x="995" y="1174"/>
                  </a:cubicBezTo>
                  <a:cubicBezTo>
                    <a:pt x="1279" y="1311"/>
                    <a:pt x="1707" y="1499"/>
                    <a:pt x="1705" y="1974"/>
                  </a:cubicBezTo>
                  <a:cubicBezTo>
                    <a:pt x="1704" y="2399"/>
                    <a:pt x="1327" y="2755"/>
                    <a:pt x="651" y="2755"/>
                  </a:cubicBezTo>
                  <a:cubicBezTo>
                    <a:pt x="442" y="2754"/>
                    <a:pt x="155" y="2686"/>
                    <a:pt x="155" y="2686"/>
                  </a:cubicBezTo>
                  <a:cubicBezTo>
                    <a:pt x="0" y="2177"/>
                    <a:pt x="0" y="2177"/>
                    <a:pt x="0" y="2177"/>
                  </a:cubicBezTo>
                  <a:cubicBezTo>
                    <a:pt x="143" y="2316"/>
                    <a:pt x="397" y="2466"/>
                    <a:pt x="658" y="2466"/>
                  </a:cubicBezTo>
                  <a:cubicBezTo>
                    <a:pt x="929" y="2466"/>
                    <a:pt x="1252" y="2298"/>
                    <a:pt x="1252" y="2030"/>
                  </a:cubicBezTo>
                  <a:cubicBezTo>
                    <a:pt x="1252" y="1512"/>
                    <a:pt x="46" y="1598"/>
                    <a:pt x="46" y="731"/>
                  </a:cubicBezTo>
                  <a:cubicBezTo>
                    <a:pt x="46" y="433"/>
                    <a:pt x="254" y="0"/>
                    <a:pt x="973" y="0"/>
                  </a:cubicBezTo>
                  <a:cubicBezTo>
                    <a:pt x="1207" y="0"/>
                    <a:pt x="1467" y="69"/>
                    <a:pt x="1467" y="69"/>
                  </a:cubicBezTo>
                  <a:lnTo>
                    <a:pt x="1467" y="4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</p:grp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7323909" y="4888800"/>
            <a:ext cx="1589691" cy="1116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56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altLang="ja-JP"/>
              <a:t>© 2021 Fujitsu Limited</a:t>
            </a:r>
            <a:endParaRPr lang="de-DE" altLang="ja-JP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5FD66971-1663-4735-86AA-EDAC07B3B6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4302000" y="4878000"/>
            <a:ext cx="5400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64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D029D89-7B63-4C94-AD4D-2E4D6BB83637}" type="slidenum">
              <a:rPr kumimoji="1" lang="ja-JP" altLang="en-US" smtClean="0"/>
              <a:pPr/>
              <a:t>‹#›</a:t>
            </a:fld>
            <a:endParaRPr kumimoji="1" lang="ja-JP" altLang="en-US"/>
          </a:p>
        </p:txBody>
      </p:sp>
      <p:sp>
        <p:nvSpPr>
          <p:cNvPr id="4" name="テキスト ボックス 3">
            <a:extLst>
              <a:ext uri="{FF2B5EF4-FFF2-40B4-BE49-F238E27FC236}">
                <a16:creationId xmlns:a16="http://schemas.microsoft.com/office/drawing/2014/main" id="{9BB51BFD-9E23-439A-90CE-CEC0CBA05066}"/>
              </a:ext>
            </a:extLst>
          </p:cNvPr>
          <p:cNvSpPr txBox="1"/>
          <p:nvPr userDrawn="1"/>
        </p:nvSpPr>
        <p:spPr>
          <a:xfrm>
            <a:off x="156758" y="4880091"/>
            <a:ext cx="1271502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kumimoji="1" lang="en-US" altLang="ja-JP" sz="700"/>
              <a:t>FUJITSU</a:t>
            </a:r>
            <a:r>
              <a:rPr kumimoji="1" lang="ja-JP" altLang="en-US" sz="700"/>
              <a:t> </a:t>
            </a:r>
            <a:r>
              <a:rPr kumimoji="1" lang="en-US" altLang="ja-JP" sz="700"/>
              <a:t>CONFIDENTIAL</a:t>
            </a:r>
            <a:endParaRPr kumimoji="1" lang="ja-JP" altLang="en-US" sz="700"/>
          </a:p>
        </p:txBody>
      </p:sp>
    </p:spTree>
    <p:extLst>
      <p:ext uri="{BB962C8B-B14F-4D97-AF65-F5344CB8AC3E}">
        <p14:creationId xmlns:p14="http://schemas.microsoft.com/office/powerpoint/2010/main" val="21336288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52" r:id="rId1"/>
    <p:sldLayoutId id="2147483717" r:id="rId2"/>
    <p:sldLayoutId id="2147483685" r:id="rId3"/>
    <p:sldLayoutId id="2147483686" r:id="rId4"/>
    <p:sldLayoutId id="2147483687" r:id="rId5"/>
    <p:sldLayoutId id="2147483688" r:id="rId6"/>
    <p:sldLayoutId id="2147483718" r:id="rId7"/>
    <p:sldLayoutId id="2147484165" r:id="rId8"/>
    <p:sldLayoutId id="2147484163" r:id="rId9"/>
    <p:sldLayoutId id="2147484167" r:id="rId1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kumimoji="1" sz="224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171450" indent="-216000" algn="l" defTabSz="685800" rtl="0" eaLnBrk="1" latinLnBrk="0" hangingPunct="1">
        <a:lnSpc>
          <a:spcPct val="90000"/>
        </a:lnSpc>
        <a:spcBef>
          <a:spcPts val="750"/>
        </a:spcBef>
        <a:buClr>
          <a:schemeClr val="accent1"/>
        </a:buClr>
        <a:buSzPct val="130000"/>
        <a:buFont typeface="Tahoma" panose="020B0604030504040204" pitchFamily="34" charset="0"/>
        <a:buChar char="○"/>
        <a:defRPr kumimoji="1" sz="176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accent3"/>
        </a:buClr>
        <a:buSzPct val="130000"/>
        <a:buFont typeface="Tahoma" panose="020B0604030504040204" pitchFamily="34" charset="0"/>
        <a:buChar char="○"/>
        <a:defRPr kumimoji="1" sz="144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tx1">
            <a:lumMod val="50000"/>
            <a:lumOff val="50000"/>
          </a:schemeClr>
        </a:buClr>
        <a:buSzPct val="130000"/>
        <a:buFont typeface="Tahoma" panose="020B0604030504040204" pitchFamily="34" charset="0"/>
        <a:buChar char="○"/>
        <a:defRPr kumimoji="1" sz="128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bg1">
            <a:lumMod val="50000"/>
          </a:schemeClr>
        </a:buClr>
        <a:buSzPct val="130000"/>
        <a:buFont typeface="Arial" panose="020B0604020202020204" pitchFamily="34" charset="0"/>
        <a:buChar char="●"/>
        <a:defRPr kumimoji="1" sz="112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bg1">
            <a:lumMod val="50000"/>
          </a:schemeClr>
        </a:buClr>
        <a:buFont typeface="Arial" panose="020B0604020202020204" pitchFamily="34" charset="0"/>
        <a:buChar char="•"/>
        <a:defRPr kumimoji="1" sz="112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bg1">
            <a:lumMod val="50000"/>
          </a:schemeClr>
        </a:buClr>
        <a:buFont typeface="Arial" panose="020B0604020202020204" pitchFamily="34" charset="0"/>
        <a:buChar char="•"/>
        <a:defRPr kumimoji="1" sz="112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bg1">
            <a:lumMod val="50000"/>
          </a:schemeClr>
        </a:buClr>
        <a:buFont typeface="Arial" panose="020B0604020202020204" pitchFamily="34" charset="0"/>
        <a:buChar char="–"/>
        <a:defRPr kumimoji="1" sz="112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bg1">
            <a:lumMod val="50000"/>
          </a:schemeClr>
        </a:buClr>
        <a:buFont typeface="Arial" panose="020B0604020202020204" pitchFamily="34" charset="0"/>
        <a:buChar char="–"/>
        <a:defRPr kumimoji="1" sz="112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bg1">
            <a:lumMod val="50000"/>
          </a:schemeClr>
        </a:buClr>
        <a:buFont typeface="Arial" panose="020B0604020202020204" pitchFamily="34" charset="0"/>
        <a:buChar char="–"/>
        <a:defRPr kumimoji="1" sz="112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kumimoji="1" sz="108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kumimoji="1" sz="108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kumimoji="1" sz="108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kumimoji="1" sz="108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kumimoji="1" sz="108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kumimoji="1" sz="108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kumimoji="1" sz="108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kumimoji="1" sz="108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kumimoji="1" sz="108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フッター プレースホルダー 3">
            <a:extLst>
              <a:ext uri="{FF2B5EF4-FFF2-40B4-BE49-F238E27FC236}">
                <a16:creationId xmlns:a16="http://schemas.microsoft.com/office/drawing/2014/main" id="{B68907B1-7668-476D-9484-34F02C02C5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44424" y="4888800"/>
            <a:ext cx="1748660" cy="111600"/>
          </a:xfrm>
          <a:prstGeom prst="rect">
            <a:avLst/>
          </a:prstGeom>
        </p:spPr>
        <p:txBody>
          <a:bodyPr/>
          <a:lstStyle>
            <a:lvl1pPr algn="r">
              <a:defRPr sz="560">
                <a:latin typeface="メイリオ" panose="020B0604030504040204" pitchFamily="50" charset="-128"/>
              </a:defRPr>
            </a:lvl1pPr>
          </a:lstStyle>
          <a:p>
            <a:pPr>
              <a:defRPr/>
            </a:pPr>
            <a:r>
              <a:rPr lang="en-US" altLang="ja-JP">
                <a:solidFill>
                  <a:srgbClr val="000000"/>
                </a:solidFill>
              </a:rPr>
              <a:t>Copyright 2021 FUJITSU LIMITED</a:t>
            </a:r>
            <a:endParaRPr lang="de-DE" altLang="ja-JP">
              <a:solidFill>
                <a:srgbClr val="000000"/>
              </a:solidFill>
            </a:endParaRPr>
          </a:p>
        </p:txBody>
      </p:sp>
      <p:sp>
        <p:nvSpPr>
          <p:cNvPr id="8" name="スライド番号プレースホルダー 4">
            <a:extLst>
              <a:ext uri="{FF2B5EF4-FFF2-40B4-BE49-F238E27FC236}">
                <a16:creationId xmlns:a16="http://schemas.microsoft.com/office/drawing/2014/main" id="{29E55BED-46DA-4CD8-9F79-A27CAF654E2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73551" y="4937189"/>
            <a:ext cx="593725" cy="201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defRPr lang="en-US" altLang="ja-JP" sz="560" smtClean="0"/>
            </a:lvl1pPr>
          </a:lstStyle>
          <a:p>
            <a:fld id="{0B5B02AC-72C7-48A8-B1FA-68CE81373FC9}" type="slidenum">
              <a:rPr lang="en-US" altLang="ja-JP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661520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66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352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24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92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44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44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44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44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44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44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44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44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44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44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44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44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44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44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44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252004" y="845739"/>
            <a:ext cx="8645525" cy="37421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/>
              <a:t>テキスト</a:t>
            </a:r>
          </a:p>
          <a:p>
            <a:pPr lvl="1"/>
            <a:r>
              <a:rPr lang="ja-JP" altLang="en-US"/>
              <a:t>テキスト</a:t>
            </a:r>
            <a:endParaRPr lang="en-US" altLang="ja-JP"/>
          </a:p>
          <a:p>
            <a:pPr lvl="2"/>
            <a:r>
              <a:rPr lang="ja-JP" altLang="en-US"/>
              <a:t>テキスト</a:t>
            </a:r>
            <a:endParaRPr lang="en-US" altLang="ja-JP"/>
          </a:p>
          <a:p>
            <a:pPr lvl="3"/>
            <a:r>
              <a:rPr lang="ja-JP" altLang="en-US"/>
              <a:t>テキスト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gray">
          <a:xfrm>
            <a:off x="252004" y="179946"/>
            <a:ext cx="7564437" cy="6252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/>
              <a:t>タイトル</a:t>
            </a:r>
          </a:p>
        </p:txBody>
      </p:sp>
      <p:sp>
        <p:nvSpPr>
          <p:cNvPr id="361477" name="Rectangle 5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4932363" y="4935604"/>
            <a:ext cx="3960812" cy="2015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fontAlgn="base">
              <a:defRPr kumimoji="0" sz="64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 altLang="ja-JP"/>
              <a:t>Copyright 2021 FUJITSU LIMITED</a:t>
            </a:r>
          </a:p>
        </p:txBody>
      </p:sp>
      <p:sp>
        <p:nvSpPr>
          <p:cNvPr id="361478" name="Rectangle 6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4300539" y="4937190"/>
            <a:ext cx="539750" cy="201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defRPr kumimoji="0" lang="de-DE" altLang="ja-JP" sz="640" smtClean="0">
                <a:latin typeface="游ゴシック" panose="020B0400000000000000" pitchFamily="50" charset="-128"/>
                <a:ea typeface="游ゴシック" panose="020B0400000000000000" pitchFamily="50" charset="-128"/>
              </a:defRPr>
            </a:lvl1pPr>
          </a:lstStyle>
          <a:p>
            <a:pPr fontAlgn="base"/>
            <a:fld id="{F065A1AB-B366-407E-9CCD-E21333B08551}" type="slidenum">
              <a:rPr lang="en-US" smtClean="0"/>
              <a:pPr fontAlgn="base"/>
              <a:t>‹#›</a:t>
            </a:fld>
            <a:endParaRPr lang="ja-JP" altLang="en-US"/>
          </a:p>
        </p:txBody>
      </p:sp>
      <p:sp>
        <p:nvSpPr>
          <p:cNvPr id="1031" name="AutoShape 10"/>
          <p:cNvSpPr>
            <a:spLocks noChangeAspect="1" noChangeArrowheads="1" noTextEdit="1"/>
          </p:cNvSpPr>
          <p:nvPr userDrawn="1"/>
        </p:nvSpPr>
        <p:spPr bwMode="gray">
          <a:xfrm>
            <a:off x="7608892" y="114266"/>
            <a:ext cx="1417637" cy="7919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ja-JP" altLang="en-US" sz="160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8775452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2" r:id="rId1"/>
    <p:sldLayoutId id="2147484063" r:id="rId2"/>
    <p:sldLayoutId id="2147484064" r:id="rId3"/>
    <p:sldLayoutId id="2147484065" r:id="rId4"/>
    <p:sldLayoutId id="2147484066" r:id="rId5"/>
    <p:sldLayoutId id="2147484067" r:id="rId6"/>
    <p:sldLayoutId id="2147484068" r:id="rId7"/>
    <p:sldLayoutId id="2147484069" r:id="rId8"/>
    <p:sldLayoutId id="2147484070" r:id="rId9"/>
    <p:sldLayoutId id="2147484071" r:id="rId10"/>
    <p:sldLayoutId id="2147484072" r:id="rId11"/>
    <p:sldLayoutId id="2147484073" r:id="rId12"/>
    <p:sldLayoutId id="2147484074" r:id="rId13"/>
    <p:sldLayoutId id="2147484075" r:id="rId14"/>
    <p:sldLayoutId id="2147484076" r:id="rId15"/>
    <p:sldLayoutId id="2147484077" r:id="rId16"/>
    <p:sldLayoutId id="2147484078" r:id="rId17"/>
    <p:sldLayoutId id="2147484080" r:id="rId18"/>
    <p:sldLayoutId id="2147484081" r:id="rId19"/>
    <p:sldLayoutId id="2147484082" r:id="rId20"/>
    <p:sldLayoutId id="2147484083" r:id="rId21"/>
    <p:sldLayoutId id="2147484084" r:id="rId22"/>
    <p:sldLayoutId id="2147484085" r:id="rId23"/>
    <p:sldLayoutId id="2147484086" r:id="rId24"/>
    <p:sldLayoutId id="2147484087" r:id="rId25"/>
    <p:sldLayoutId id="2147484088" r:id="rId26"/>
    <p:sldLayoutId id="2147484089" r:id="rId27"/>
    <p:sldLayoutId id="2147484090" r:id="rId28"/>
    <p:sldLayoutId id="2147484091" r:id="rId29"/>
    <p:sldLayoutId id="2147484092" r:id="rId30"/>
    <p:sldLayoutId id="2147484093" r:id="rId31"/>
    <p:sldLayoutId id="2147484094" r:id="rId32"/>
    <p:sldLayoutId id="2147484095" r:id="rId33"/>
    <p:sldLayoutId id="2147484096" r:id="rId34"/>
    <p:sldLayoutId id="2147484097" r:id="rId35"/>
    <p:sldLayoutId id="2147484098" r:id="rId36"/>
  </p:sldLayoutIdLst>
  <p:hf hdr="0" dt="0"/>
  <p:txStyles>
    <p:titleStyle>
      <a:lvl1pPr algn="l" rtl="0" eaLnBrk="0" fontAlgn="ctr" hangingPunct="0">
        <a:lnSpc>
          <a:spcPct val="90000"/>
        </a:lnSpc>
        <a:spcBef>
          <a:spcPct val="0"/>
        </a:spcBef>
        <a:spcAft>
          <a:spcPct val="0"/>
        </a:spcAft>
        <a:defRPr kumimoji="1" sz="1680" b="0">
          <a:solidFill>
            <a:schemeClr val="tx1">
              <a:lumMod val="50000"/>
              <a:lumOff val="50000"/>
            </a:schemeClr>
          </a:solidFill>
          <a:latin typeface="游ゴシック" panose="020B0400000000000000" pitchFamily="50" charset="-128"/>
          <a:ea typeface="游ゴシック" panose="020B0400000000000000" pitchFamily="50" charset="-128"/>
          <a:cs typeface="游ゴシック" panose="020B0400000000000000" pitchFamily="50" charset="-128"/>
        </a:defRPr>
      </a:lvl1pPr>
      <a:lvl2pPr algn="l" rtl="0" eaLnBrk="0" fontAlgn="ctr" hangingPunct="0">
        <a:lnSpc>
          <a:spcPct val="90000"/>
        </a:lnSpc>
        <a:spcBef>
          <a:spcPct val="0"/>
        </a:spcBef>
        <a:spcAft>
          <a:spcPct val="0"/>
        </a:spcAft>
        <a:defRPr kumimoji="1" sz="2240">
          <a:solidFill>
            <a:schemeClr val="tx1"/>
          </a:solidFill>
          <a:latin typeface="FUJI-新ゴ M" pitchFamily="50" charset="-128"/>
          <a:ea typeface="FUJI-新ゴ M" pitchFamily="50" charset="-128"/>
          <a:cs typeface="Meiryo UI" pitchFamily="50" charset="-128"/>
        </a:defRPr>
      </a:lvl2pPr>
      <a:lvl3pPr algn="l" rtl="0" eaLnBrk="0" fontAlgn="ctr" hangingPunct="0">
        <a:lnSpc>
          <a:spcPct val="90000"/>
        </a:lnSpc>
        <a:spcBef>
          <a:spcPct val="0"/>
        </a:spcBef>
        <a:spcAft>
          <a:spcPct val="0"/>
        </a:spcAft>
        <a:defRPr kumimoji="1" sz="2240">
          <a:solidFill>
            <a:schemeClr val="tx1"/>
          </a:solidFill>
          <a:latin typeface="FUJI-新ゴ M" pitchFamily="50" charset="-128"/>
          <a:ea typeface="FUJI-新ゴ M" pitchFamily="50" charset="-128"/>
          <a:cs typeface="Meiryo UI" pitchFamily="50" charset="-128"/>
        </a:defRPr>
      </a:lvl3pPr>
      <a:lvl4pPr algn="l" rtl="0" eaLnBrk="0" fontAlgn="ctr" hangingPunct="0">
        <a:lnSpc>
          <a:spcPct val="90000"/>
        </a:lnSpc>
        <a:spcBef>
          <a:spcPct val="0"/>
        </a:spcBef>
        <a:spcAft>
          <a:spcPct val="0"/>
        </a:spcAft>
        <a:defRPr kumimoji="1" sz="2240">
          <a:solidFill>
            <a:schemeClr val="tx1"/>
          </a:solidFill>
          <a:latin typeface="FUJI-新ゴ M" pitchFamily="50" charset="-128"/>
          <a:ea typeface="FUJI-新ゴ M" pitchFamily="50" charset="-128"/>
          <a:cs typeface="Meiryo UI" pitchFamily="50" charset="-128"/>
        </a:defRPr>
      </a:lvl4pPr>
      <a:lvl5pPr algn="l" rtl="0" eaLnBrk="0" fontAlgn="ctr" hangingPunct="0">
        <a:lnSpc>
          <a:spcPct val="90000"/>
        </a:lnSpc>
        <a:spcBef>
          <a:spcPct val="0"/>
        </a:spcBef>
        <a:spcAft>
          <a:spcPct val="0"/>
        </a:spcAft>
        <a:defRPr kumimoji="1" sz="2240">
          <a:solidFill>
            <a:schemeClr val="tx1"/>
          </a:solidFill>
          <a:latin typeface="FUJI-新ゴ M" pitchFamily="50" charset="-128"/>
          <a:ea typeface="FUJI-新ゴ M" pitchFamily="50" charset="-128"/>
          <a:cs typeface="Meiryo UI" pitchFamily="50" charset="-128"/>
        </a:defRPr>
      </a:lvl5pPr>
      <a:lvl6pPr marL="456914" algn="l" rtl="0" fontAlgn="ctr">
        <a:lnSpc>
          <a:spcPct val="90000"/>
        </a:lnSpc>
        <a:spcBef>
          <a:spcPct val="0"/>
        </a:spcBef>
        <a:spcAft>
          <a:spcPct val="0"/>
        </a:spcAft>
        <a:defRPr kumimoji="1" sz="2240">
          <a:solidFill>
            <a:schemeClr val="tx2"/>
          </a:solidFill>
          <a:latin typeface="Arial" charset="0"/>
          <a:ea typeface="ＭＳ Ｐゴシック" charset="-128"/>
        </a:defRPr>
      </a:lvl6pPr>
      <a:lvl7pPr marL="913829" algn="l" rtl="0" fontAlgn="ctr">
        <a:lnSpc>
          <a:spcPct val="90000"/>
        </a:lnSpc>
        <a:spcBef>
          <a:spcPct val="0"/>
        </a:spcBef>
        <a:spcAft>
          <a:spcPct val="0"/>
        </a:spcAft>
        <a:defRPr kumimoji="1" sz="2240">
          <a:solidFill>
            <a:schemeClr val="tx2"/>
          </a:solidFill>
          <a:latin typeface="Arial" charset="0"/>
          <a:ea typeface="ＭＳ Ｐゴシック" charset="-128"/>
        </a:defRPr>
      </a:lvl7pPr>
      <a:lvl8pPr marL="1370744" algn="l" rtl="0" fontAlgn="ctr">
        <a:lnSpc>
          <a:spcPct val="90000"/>
        </a:lnSpc>
        <a:spcBef>
          <a:spcPct val="0"/>
        </a:spcBef>
        <a:spcAft>
          <a:spcPct val="0"/>
        </a:spcAft>
        <a:defRPr kumimoji="1" sz="2240">
          <a:solidFill>
            <a:schemeClr val="tx2"/>
          </a:solidFill>
          <a:latin typeface="Arial" charset="0"/>
          <a:ea typeface="ＭＳ Ｐゴシック" charset="-128"/>
        </a:defRPr>
      </a:lvl8pPr>
      <a:lvl9pPr marL="1827657" algn="l" rtl="0" fontAlgn="ctr">
        <a:lnSpc>
          <a:spcPct val="90000"/>
        </a:lnSpc>
        <a:spcBef>
          <a:spcPct val="0"/>
        </a:spcBef>
        <a:spcAft>
          <a:spcPct val="0"/>
        </a:spcAft>
        <a:defRPr kumimoji="1" sz="2240">
          <a:solidFill>
            <a:schemeClr val="tx2"/>
          </a:solidFill>
          <a:latin typeface="Arial" charset="0"/>
          <a:ea typeface="ＭＳ Ｐゴシック" charset="-128"/>
        </a:defRPr>
      </a:lvl9pPr>
    </p:titleStyle>
    <p:bodyStyle>
      <a:lvl1pPr marL="266534" indent="-266534" algn="l" defTabSz="809119" rtl="0" eaLnBrk="0" fontAlgn="ctr" hangingPunct="0">
        <a:lnSpc>
          <a:spcPct val="110000"/>
        </a:lnSpc>
        <a:spcBef>
          <a:spcPts val="0"/>
        </a:spcBef>
        <a:spcAft>
          <a:spcPts val="300"/>
        </a:spcAft>
        <a:buClr>
          <a:srgbClr val="C80202"/>
        </a:buClr>
        <a:buFont typeface="Wingdings" pitchFamily="2" charset="2"/>
        <a:buChar char="n"/>
        <a:defRPr kumimoji="1" sz="1440">
          <a:solidFill>
            <a:schemeClr val="tx1">
              <a:lumMod val="50000"/>
              <a:lumOff val="50000"/>
            </a:schemeClr>
          </a:solidFill>
          <a:latin typeface="游ゴシック" panose="020B0400000000000000" pitchFamily="50" charset="-128"/>
          <a:ea typeface="游ゴシック" panose="020B0400000000000000" pitchFamily="50" charset="-128"/>
          <a:cs typeface="游ゴシック" panose="020B0400000000000000" pitchFamily="50" charset="-128"/>
        </a:defRPr>
      </a:lvl1pPr>
      <a:lvl2pPr marL="514029" indent="-245909" algn="l" defTabSz="809119" rtl="0" eaLnBrk="0" fontAlgn="ctr" hangingPunct="0">
        <a:lnSpc>
          <a:spcPct val="110000"/>
        </a:lnSpc>
        <a:spcBef>
          <a:spcPts val="0"/>
        </a:spcBef>
        <a:spcAft>
          <a:spcPts val="300"/>
        </a:spcAft>
        <a:buClr>
          <a:srgbClr val="87867E"/>
        </a:buClr>
        <a:buFont typeface="Wingdings" pitchFamily="2" charset="2"/>
        <a:buChar char="n"/>
        <a:defRPr kumimoji="1" sz="1280">
          <a:solidFill>
            <a:schemeClr val="tx1">
              <a:lumMod val="50000"/>
              <a:lumOff val="50000"/>
            </a:schemeClr>
          </a:solidFill>
          <a:latin typeface="游ゴシック" panose="020B0400000000000000" pitchFamily="50" charset="-128"/>
          <a:ea typeface="游ゴシック" panose="020B0400000000000000" pitchFamily="50" charset="-128"/>
          <a:cs typeface="游ゴシック" panose="020B0400000000000000" pitchFamily="50" charset="-128"/>
        </a:defRPr>
      </a:lvl2pPr>
      <a:lvl3pPr marL="622285" indent="-185733" algn="l" defTabSz="809119" rtl="0" eaLnBrk="0" fontAlgn="ctr" hangingPunct="0">
        <a:lnSpc>
          <a:spcPct val="110000"/>
        </a:lnSpc>
        <a:spcBef>
          <a:spcPct val="20000"/>
        </a:spcBef>
        <a:spcAft>
          <a:spcPct val="10000"/>
        </a:spcAft>
        <a:buClr>
          <a:srgbClr val="808080"/>
        </a:buClr>
        <a:buFont typeface="Wingdings" panose="05000000000000000000" pitchFamily="2" charset="2"/>
        <a:buChar char="n"/>
        <a:defRPr kumimoji="1" sz="1120">
          <a:solidFill>
            <a:schemeClr val="tx1">
              <a:lumMod val="50000"/>
              <a:lumOff val="50000"/>
            </a:schemeClr>
          </a:solidFill>
          <a:latin typeface="游ゴシック" panose="020B0400000000000000" pitchFamily="50" charset="-128"/>
          <a:ea typeface="游ゴシック" panose="020B0400000000000000" pitchFamily="50" charset="-128"/>
          <a:cs typeface="游ゴシック" panose="020B0400000000000000" pitchFamily="50" charset="-128"/>
        </a:defRPr>
      </a:lvl3pPr>
      <a:lvl4pPr marL="898502" indent="-177796" algn="l" defTabSz="809119" rtl="0" eaLnBrk="0" fontAlgn="base" hangingPunct="0">
        <a:lnSpc>
          <a:spcPct val="110000"/>
        </a:lnSpc>
        <a:spcBef>
          <a:spcPct val="20000"/>
        </a:spcBef>
        <a:spcAft>
          <a:spcPct val="10000"/>
        </a:spcAft>
        <a:buClr>
          <a:srgbClr val="87867E"/>
        </a:buClr>
        <a:buSzPct val="100000"/>
        <a:buFont typeface="Wingdings" panose="05000000000000000000" pitchFamily="2" charset="2"/>
        <a:buChar char="n"/>
        <a:defRPr kumimoji="1" sz="960">
          <a:solidFill>
            <a:schemeClr val="tx1">
              <a:lumMod val="50000"/>
              <a:lumOff val="50000"/>
            </a:schemeClr>
          </a:solidFill>
          <a:latin typeface="游ゴシック" panose="020B0400000000000000" pitchFamily="50" charset="-128"/>
          <a:ea typeface="游ゴシック" panose="020B0400000000000000" pitchFamily="50" charset="-128"/>
          <a:cs typeface="游ゴシック" panose="020B0400000000000000" pitchFamily="50" charset="-128"/>
        </a:defRPr>
      </a:lvl4pPr>
      <a:lvl5pPr marL="2056115" indent="-228456" algn="l" defTabSz="809119" rtl="0" eaLnBrk="0" fontAlgn="base" hangingPunct="0">
        <a:spcBef>
          <a:spcPct val="20000"/>
        </a:spcBef>
        <a:spcAft>
          <a:spcPct val="0"/>
        </a:spcAft>
        <a:buChar char="»"/>
        <a:defRPr kumimoji="1" sz="1600">
          <a:solidFill>
            <a:schemeClr val="tx1"/>
          </a:solidFill>
          <a:latin typeface="+mn-lt"/>
          <a:ea typeface="+mn-ea"/>
          <a:cs typeface="ＭＳ Ｐゴシック" pitchFamily="50" charset="-128"/>
        </a:defRPr>
      </a:lvl5pPr>
      <a:lvl6pPr marL="2513030" indent="-228456" algn="l" defTabSz="809119" rtl="0" fontAlgn="base">
        <a:spcBef>
          <a:spcPct val="20000"/>
        </a:spcBef>
        <a:spcAft>
          <a:spcPct val="0"/>
        </a:spcAft>
        <a:buChar char="»"/>
        <a:defRPr kumimoji="1" sz="1600">
          <a:solidFill>
            <a:schemeClr val="tx1"/>
          </a:solidFill>
          <a:latin typeface="+mn-lt"/>
          <a:ea typeface="+mn-ea"/>
        </a:defRPr>
      </a:lvl6pPr>
      <a:lvl7pPr marL="2969943" indent="-228456" algn="l" defTabSz="809119" rtl="0" fontAlgn="base">
        <a:spcBef>
          <a:spcPct val="20000"/>
        </a:spcBef>
        <a:spcAft>
          <a:spcPct val="0"/>
        </a:spcAft>
        <a:buChar char="»"/>
        <a:defRPr kumimoji="1" sz="1600">
          <a:solidFill>
            <a:schemeClr val="tx1"/>
          </a:solidFill>
          <a:latin typeface="+mn-lt"/>
          <a:ea typeface="+mn-ea"/>
        </a:defRPr>
      </a:lvl7pPr>
      <a:lvl8pPr marL="3426857" indent="-228456" algn="l" defTabSz="809119" rtl="0" fontAlgn="base">
        <a:spcBef>
          <a:spcPct val="20000"/>
        </a:spcBef>
        <a:spcAft>
          <a:spcPct val="0"/>
        </a:spcAft>
        <a:buChar char="»"/>
        <a:defRPr kumimoji="1" sz="1600">
          <a:solidFill>
            <a:schemeClr val="tx1"/>
          </a:solidFill>
          <a:latin typeface="+mn-lt"/>
          <a:ea typeface="+mn-ea"/>
        </a:defRPr>
      </a:lvl8pPr>
      <a:lvl9pPr marL="3883771" indent="-228456" algn="l" defTabSz="809119" rtl="0" fontAlgn="base">
        <a:spcBef>
          <a:spcPct val="20000"/>
        </a:spcBef>
        <a:spcAft>
          <a:spcPct val="0"/>
        </a:spcAft>
        <a:buChar char="»"/>
        <a:defRPr kumimoji="1"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3829" rtl="0" eaLnBrk="1" latinLnBrk="0" hangingPunct="1">
        <a:defRPr kumimoji="1" sz="1440" kern="1200">
          <a:solidFill>
            <a:schemeClr val="tx1"/>
          </a:solidFill>
          <a:latin typeface="+mn-lt"/>
          <a:ea typeface="+mn-ea"/>
          <a:cs typeface="+mn-cs"/>
        </a:defRPr>
      </a:lvl1pPr>
      <a:lvl2pPr marL="456914" algn="l" defTabSz="913829" rtl="0" eaLnBrk="1" latinLnBrk="0" hangingPunct="1">
        <a:defRPr kumimoji="1" sz="1440" kern="1200">
          <a:solidFill>
            <a:schemeClr val="tx1"/>
          </a:solidFill>
          <a:latin typeface="+mn-lt"/>
          <a:ea typeface="+mn-ea"/>
          <a:cs typeface="+mn-cs"/>
        </a:defRPr>
      </a:lvl2pPr>
      <a:lvl3pPr marL="913829" algn="l" defTabSz="913829" rtl="0" eaLnBrk="1" latinLnBrk="0" hangingPunct="1">
        <a:defRPr kumimoji="1" sz="1440" kern="1200">
          <a:solidFill>
            <a:schemeClr val="tx1"/>
          </a:solidFill>
          <a:latin typeface="+mn-lt"/>
          <a:ea typeface="+mn-ea"/>
          <a:cs typeface="+mn-cs"/>
        </a:defRPr>
      </a:lvl3pPr>
      <a:lvl4pPr marL="1370744" algn="l" defTabSz="913829" rtl="0" eaLnBrk="1" latinLnBrk="0" hangingPunct="1">
        <a:defRPr kumimoji="1" sz="1440" kern="1200">
          <a:solidFill>
            <a:schemeClr val="tx1"/>
          </a:solidFill>
          <a:latin typeface="+mn-lt"/>
          <a:ea typeface="+mn-ea"/>
          <a:cs typeface="+mn-cs"/>
        </a:defRPr>
      </a:lvl4pPr>
      <a:lvl5pPr marL="1827657" algn="l" defTabSz="913829" rtl="0" eaLnBrk="1" latinLnBrk="0" hangingPunct="1">
        <a:defRPr kumimoji="1" sz="1440" kern="1200">
          <a:solidFill>
            <a:schemeClr val="tx1"/>
          </a:solidFill>
          <a:latin typeface="+mn-lt"/>
          <a:ea typeface="+mn-ea"/>
          <a:cs typeface="+mn-cs"/>
        </a:defRPr>
      </a:lvl5pPr>
      <a:lvl6pPr marL="2284571" algn="l" defTabSz="913829" rtl="0" eaLnBrk="1" latinLnBrk="0" hangingPunct="1">
        <a:defRPr kumimoji="1" sz="1440" kern="1200">
          <a:solidFill>
            <a:schemeClr val="tx1"/>
          </a:solidFill>
          <a:latin typeface="+mn-lt"/>
          <a:ea typeface="+mn-ea"/>
          <a:cs typeface="+mn-cs"/>
        </a:defRPr>
      </a:lvl6pPr>
      <a:lvl7pPr marL="2741486" algn="l" defTabSz="913829" rtl="0" eaLnBrk="1" latinLnBrk="0" hangingPunct="1">
        <a:defRPr kumimoji="1" sz="1440" kern="1200">
          <a:solidFill>
            <a:schemeClr val="tx1"/>
          </a:solidFill>
          <a:latin typeface="+mn-lt"/>
          <a:ea typeface="+mn-ea"/>
          <a:cs typeface="+mn-cs"/>
        </a:defRPr>
      </a:lvl7pPr>
      <a:lvl8pPr marL="3198400" algn="l" defTabSz="913829" rtl="0" eaLnBrk="1" latinLnBrk="0" hangingPunct="1">
        <a:defRPr kumimoji="1" sz="1440" kern="1200">
          <a:solidFill>
            <a:schemeClr val="tx1"/>
          </a:solidFill>
          <a:latin typeface="+mn-lt"/>
          <a:ea typeface="+mn-ea"/>
          <a:cs typeface="+mn-cs"/>
        </a:defRPr>
      </a:lvl8pPr>
      <a:lvl9pPr marL="3655315" algn="l" defTabSz="913829" rtl="0" eaLnBrk="1" latinLnBrk="0" hangingPunct="1">
        <a:defRPr kumimoji="1" sz="144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31" descr="ContentGray20_L150"/>
          <p:cNvPicPr>
            <a:picLocks noChangeAspect="1" noChangeArrowheads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0"/>
            <a:ext cx="9144000" cy="10728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1" name="Group 19"/>
          <p:cNvGrpSpPr>
            <a:grpSpLocks noChangeAspect="1"/>
          </p:cNvGrpSpPr>
          <p:nvPr userDrawn="1"/>
        </p:nvGrpSpPr>
        <p:grpSpPr bwMode="gray">
          <a:xfrm>
            <a:off x="7828764" y="79351"/>
            <a:ext cx="1176337" cy="657022"/>
            <a:chOff x="4969" y="50"/>
            <a:chExt cx="741" cy="414"/>
          </a:xfrm>
        </p:grpSpPr>
        <p:sp>
          <p:nvSpPr>
            <p:cNvPr id="22" name="AutoShape 18"/>
            <p:cNvSpPr>
              <a:spLocks noChangeAspect="1" noChangeArrowheads="1" noTextEdit="1"/>
            </p:cNvSpPr>
            <p:nvPr userDrawn="1"/>
          </p:nvSpPr>
          <p:spPr bwMode="gray">
            <a:xfrm>
              <a:off x="4969" y="50"/>
              <a:ext cx="741" cy="4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3" name="Freeform 20"/>
            <p:cNvSpPr>
              <a:spLocks/>
            </p:cNvSpPr>
            <p:nvPr userDrawn="1"/>
          </p:nvSpPr>
          <p:spPr bwMode="gray">
            <a:xfrm>
              <a:off x="5334" y="121"/>
              <a:ext cx="94" cy="72"/>
            </a:xfrm>
            <a:custGeom>
              <a:avLst/>
              <a:gdLst>
                <a:gd name="T0" fmla="*/ 961 w 2365"/>
                <a:gd name="T1" fmla="*/ 764 h 1825"/>
                <a:gd name="T2" fmla="*/ 599 w 2365"/>
                <a:gd name="T3" fmla="*/ 642 h 1825"/>
                <a:gd name="T4" fmla="*/ 1 w 2365"/>
                <a:gd name="T5" fmla="*/ 1235 h 1825"/>
                <a:gd name="T6" fmla="*/ 599 w 2365"/>
                <a:gd name="T7" fmla="*/ 1825 h 1825"/>
                <a:gd name="T8" fmla="*/ 1053 w 2365"/>
                <a:gd name="T9" fmla="*/ 1619 h 1825"/>
                <a:gd name="T10" fmla="*/ 1053 w 2365"/>
                <a:gd name="T11" fmla="*/ 1293 h 1825"/>
                <a:gd name="T12" fmla="*/ 771 w 2365"/>
                <a:gd name="T13" fmla="*/ 1568 h 1825"/>
                <a:gd name="T14" fmla="*/ 599 w 2365"/>
                <a:gd name="T15" fmla="*/ 1604 h 1825"/>
                <a:gd name="T16" fmla="*/ 225 w 2365"/>
                <a:gd name="T17" fmla="*/ 1235 h 1825"/>
                <a:gd name="T18" fmla="*/ 599 w 2365"/>
                <a:gd name="T19" fmla="*/ 863 h 1825"/>
                <a:gd name="T20" fmla="*/ 861 w 2365"/>
                <a:gd name="T21" fmla="*/ 972 h 1825"/>
                <a:gd name="T22" fmla="*/ 1093 w 2365"/>
                <a:gd name="T23" fmla="*/ 1239 h 1825"/>
                <a:gd name="T24" fmla="*/ 1630 w 2365"/>
                <a:gd name="T25" fmla="*/ 1473 h 1825"/>
                <a:gd name="T26" fmla="*/ 2365 w 2365"/>
                <a:gd name="T27" fmla="*/ 741 h 1825"/>
                <a:gd name="T28" fmla="*/ 1630 w 2365"/>
                <a:gd name="T29" fmla="*/ 0 h 1825"/>
                <a:gd name="T30" fmla="*/ 1053 w 2365"/>
                <a:gd name="T31" fmla="*/ 295 h 1825"/>
                <a:gd name="T32" fmla="*/ 1053 w 2365"/>
                <a:gd name="T33" fmla="*/ 735 h 1825"/>
                <a:gd name="T34" fmla="*/ 1630 w 2365"/>
                <a:gd name="T35" fmla="*/ 232 h 1825"/>
                <a:gd name="T36" fmla="*/ 2134 w 2365"/>
                <a:gd name="T37" fmla="*/ 741 h 1825"/>
                <a:gd name="T38" fmla="*/ 1630 w 2365"/>
                <a:gd name="T39" fmla="*/ 1245 h 1825"/>
                <a:gd name="T40" fmla="*/ 1303 w 2365"/>
                <a:gd name="T41" fmla="*/ 1125 h 1825"/>
                <a:gd name="T42" fmla="*/ 961 w 2365"/>
                <a:gd name="T43" fmla="*/ 764 h 18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65" h="1825">
                  <a:moveTo>
                    <a:pt x="961" y="764"/>
                  </a:moveTo>
                  <a:cubicBezTo>
                    <a:pt x="875" y="688"/>
                    <a:pt x="736" y="643"/>
                    <a:pt x="599" y="642"/>
                  </a:cubicBezTo>
                  <a:cubicBezTo>
                    <a:pt x="270" y="641"/>
                    <a:pt x="2" y="900"/>
                    <a:pt x="1" y="1235"/>
                  </a:cubicBezTo>
                  <a:cubicBezTo>
                    <a:pt x="0" y="1563"/>
                    <a:pt x="270" y="1824"/>
                    <a:pt x="599" y="1825"/>
                  </a:cubicBezTo>
                  <a:cubicBezTo>
                    <a:pt x="783" y="1825"/>
                    <a:pt x="943" y="1751"/>
                    <a:pt x="1053" y="1619"/>
                  </a:cubicBezTo>
                  <a:cubicBezTo>
                    <a:pt x="1053" y="1293"/>
                    <a:pt x="1053" y="1293"/>
                    <a:pt x="1053" y="1293"/>
                  </a:cubicBezTo>
                  <a:cubicBezTo>
                    <a:pt x="994" y="1394"/>
                    <a:pt x="877" y="1524"/>
                    <a:pt x="771" y="1568"/>
                  </a:cubicBezTo>
                  <a:cubicBezTo>
                    <a:pt x="717" y="1590"/>
                    <a:pt x="662" y="1604"/>
                    <a:pt x="599" y="1604"/>
                  </a:cubicBezTo>
                  <a:cubicBezTo>
                    <a:pt x="394" y="1604"/>
                    <a:pt x="225" y="1445"/>
                    <a:pt x="225" y="1235"/>
                  </a:cubicBezTo>
                  <a:cubicBezTo>
                    <a:pt x="225" y="1041"/>
                    <a:pt x="380" y="862"/>
                    <a:pt x="599" y="863"/>
                  </a:cubicBezTo>
                  <a:cubicBezTo>
                    <a:pt x="701" y="863"/>
                    <a:pt x="793" y="905"/>
                    <a:pt x="861" y="972"/>
                  </a:cubicBezTo>
                  <a:cubicBezTo>
                    <a:pt x="931" y="1040"/>
                    <a:pt x="1041" y="1183"/>
                    <a:pt x="1093" y="1239"/>
                  </a:cubicBezTo>
                  <a:cubicBezTo>
                    <a:pt x="1227" y="1383"/>
                    <a:pt x="1419" y="1473"/>
                    <a:pt x="1630" y="1473"/>
                  </a:cubicBezTo>
                  <a:cubicBezTo>
                    <a:pt x="2036" y="1474"/>
                    <a:pt x="2365" y="1146"/>
                    <a:pt x="2365" y="741"/>
                  </a:cubicBezTo>
                  <a:cubicBezTo>
                    <a:pt x="2365" y="336"/>
                    <a:pt x="2035" y="0"/>
                    <a:pt x="1630" y="0"/>
                  </a:cubicBezTo>
                  <a:cubicBezTo>
                    <a:pt x="1395" y="0"/>
                    <a:pt x="1187" y="122"/>
                    <a:pt x="1053" y="295"/>
                  </a:cubicBezTo>
                  <a:cubicBezTo>
                    <a:pt x="1053" y="735"/>
                    <a:pt x="1053" y="735"/>
                    <a:pt x="1053" y="735"/>
                  </a:cubicBezTo>
                  <a:cubicBezTo>
                    <a:pt x="1155" y="455"/>
                    <a:pt x="1340" y="232"/>
                    <a:pt x="1630" y="232"/>
                  </a:cubicBezTo>
                  <a:cubicBezTo>
                    <a:pt x="1909" y="232"/>
                    <a:pt x="2135" y="463"/>
                    <a:pt x="2134" y="741"/>
                  </a:cubicBezTo>
                  <a:cubicBezTo>
                    <a:pt x="2134" y="1020"/>
                    <a:pt x="1909" y="1246"/>
                    <a:pt x="1630" y="1245"/>
                  </a:cubicBezTo>
                  <a:cubicBezTo>
                    <a:pt x="1506" y="1244"/>
                    <a:pt x="1391" y="1199"/>
                    <a:pt x="1303" y="1125"/>
                  </a:cubicBezTo>
                  <a:cubicBezTo>
                    <a:pt x="1194" y="1040"/>
                    <a:pt x="1074" y="860"/>
                    <a:pt x="961" y="764"/>
                  </a:cubicBezTo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4" name="Freeform 21"/>
            <p:cNvSpPr>
              <a:spLocks/>
            </p:cNvSpPr>
            <p:nvPr userDrawn="1"/>
          </p:nvSpPr>
          <p:spPr bwMode="gray">
            <a:xfrm>
              <a:off x="5180" y="200"/>
              <a:ext cx="65" cy="106"/>
            </a:xfrm>
            <a:custGeom>
              <a:avLst/>
              <a:gdLst>
                <a:gd name="T0" fmla="*/ 0 w 1624"/>
                <a:gd name="T1" fmla="*/ 0 h 2651"/>
                <a:gd name="T2" fmla="*/ 1624 w 1624"/>
                <a:gd name="T3" fmla="*/ 0 h 2651"/>
                <a:gd name="T4" fmla="*/ 1624 w 1624"/>
                <a:gd name="T5" fmla="*/ 452 h 2651"/>
                <a:gd name="T6" fmla="*/ 1365 w 1624"/>
                <a:gd name="T7" fmla="*/ 273 h 2651"/>
                <a:gd name="T8" fmla="*/ 613 w 1624"/>
                <a:gd name="T9" fmla="*/ 273 h 2651"/>
                <a:gd name="T10" fmla="*/ 613 w 1624"/>
                <a:gd name="T11" fmla="*/ 1053 h 2651"/>
                <a:gd name="T12" fmla="*/ 1428 w 1624"/>
                <a:gd name="T13" fmla="*/ 1053 h 2651"/>
                <a:gd name="T14" fmla="*/ 1428 w 1624"/>
                <a:gd name="T15" fmla="*/ 1467 h 2651"/>
                <a:gd name="T16" fmla="*/ 1205 w 1624"/>
                <a:gd name="T17" fmla="*/ 1335 h 2651"/>
                <a:gd name="T18" fmla="*/ 613 w 1624"/>
                <a:gd name="T19" fmla="*/ 1335 h 2651"/>
                <a:gd name="T20" fmla="*/ 613 w 1624"/>
                <a:gd name="T21" fmla="*/ 2401 h 2651"/>
                <a:gd name="T22" fmla="*/ 784 w 1624"/>
                <a:gd name="T23" fmla="*/ 2651 h 2651"/>
                <a:gd name="T24" fmla="*/ 11 w 1624"/>
                <a:gd name="T25" fmla="*/ 2651 h 2651"/>
                <a:gd name="T26" fmla="*/ 173 w 1624"/>
                <a:gd name="T27" fmla="*/ 2401 h 2651"/>
                <a:gd name="T28" fmla="*/ 173 w 1624"/>
                <a:gd name="T29" fmla="*/ 278 h 2651"/>
                <a:gd name="T30" fmla="*/ 0 w 1624"/>
                <a:gd name="T31" fmla="*/ 0 h 2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624" h="2651">
                  <a:moveTo>
                    <a:pt x="0" y="0"/>
                  </a:moveTo>
                  <a:cubicBezTo>
                    <a:pt x="1624" y="0"/>
                    <a:pt x="1624" y="0"/>
                    <a:pt x="1624" y="0"/>
                  </a:cubicBezTo>
                  <a:cubicBezTo>
                    <a:pt x="1624" y="452"/>
                    <a:pt x="1624" y="452"/>
                    <a:pt x="1624" y="452"/>
                  </a:cubicBezTo>
                  <a:cubicBezTo>
                    <a:pt x="1624" y="452"/>
                    <a:pt x="1540" y="274"/>
                    <a:pt x="1365" y="273"/>
                  </a:cubicBezTo>
                  <a:cubicBezTo>
                    <a:pt x="613" y="273"/>
                    <a:pt x="613" y="273"/>
                    <a:pt x="613" y="273"/>
                  </a:cubicBezTo>
                  <a:cubicBezTo>
                    <a:pt x="613" y="1053"/>
                    <a:pt x="613" y="1053"/>
                    <a:pt x="613" y="1053"/>
                  </a:cubicBezTo>
                  <a:cubicBezTo>
                    <a:pt x="1428" y="1053"/>
                    <a:pt x="1428" y="1053"/>
                    <a:pt x="1428" y="1053"/>
                  </a:cubicBezTo>
                  <a:cubicBezTo>
                    <a:pt x="1428" y="1467"/>
                    <a:pt x="1428" y="1467"/>
                    <a:pt x="1428" y="1467"/>
                  </a:cubicBezTo>
                  <a:cubicBezTo>
                    <a:pt x="1428" y="1467"/>
                    <a:pt x="1402" y="1335"/>
                    <a:pt x="1205" y="1335"/>
                  </a:cubicBezTo>
                  <a:cubicBezTo>
                    <a:pt x="613" y="1335"/>
                    <a:pt x="613" y="1335"/>
                    <a:pt x="613" y="1335"/>
                  </a:cubicBezTo>
                  <a:cubicBezTo>
                    <a:pt x="613" y="2401"/>
                    <a:pt x="613" y="2401"/>
                    <a:pt x="613" y="2401"/>
                  </a:cubicBezTo>
                  <a:cubicBezTo>
                    <a:pt x="613" y="2558"/>
                    <a:pt x="784" y="2651"/>
                    <a:pt x="784" y="2651"/>
                  </a:cubicBezTo>
                  <a:cubicBezTo>
                    <a:pt x="11" y="2651"/>
                    <a:pt x="11" y="2651"/>
                    <a:pt x="11" y="2651"/>
                  </a:cubicBezTo>
                  <a:cubicBezTo>
                    <a:pt x="11" y="2651"/>
                    <a:pt x="173" y="2569"/>
                    <a:pt x="173" y="2401"/>
                  </a:cubicBezTo>
                  <a:cubicBezTo>
                    <a:pt x="173" y="278"/>
                    <a:pt x="173" y="278"/>
                    <a:pt x="173" y="278"/>
                  </a:cubicBezTo>
                  <a:cubicBezTo>
                    <a:pt x="173" y="9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5" name="Freeform 22"/>
            <p:cNvSpPr>
              <a:spLocks/>
            </p:cNvSpPr>
            <p:nvPr userDrawn="1"/>
          </p:nvSpPr>
          <p:spPr bwMode="gray">
            <a:xfrm>
              <a:off x="5333" y="200"/>
              <a:ext cx="43" cy="148"/>
            </a:xfrm>
            <a:custGeom>
              <a:avLst/>
              <a:gdLst>
                <a:gd name="T0" fmla="*/ 246 w 1072"/>
                <a:gd name="T1" fmla="*/ 0 h 3696"/>
                <a:gd name="T2" fmla="*/ 1072 w 1072"/>
                <a:gd name="T3" fmla="*/ 0 h 3696"/>
                <a:gd name="T4" fmla="*/ 887 w 1072"/>
                <a:gd name="T5" fmla="*/ 230 h 3696"/>
                <a:gd name="T6" fmla="*/ 887 w 1072"/>
                <a:gd name="T7" fmla="*/ 2717 h 3696"/>
                <a:gd name="T8" fmla="*/ 0 w 1072"/>
                <a:gd name="T9" fmla="*/ 3693 h 3696"/>
                <a:gd name="T10" fmla="*/ 423 w 1072"/>
                <a:gd name="T11" fmla="*/ 2717 h 3696"/>
                <a:gd name="T12" fmla="*/ 423 w 1072"/>
                <a:gd name="T13" fmla="*/ 230 h 3696"/>
                <a:gd name="T14" fmla="*/ 246 w 1072"/>
                <a:gd name="T15" fmla="*/ 0 h 36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72" h="3696">
                  <a:moveTo>
                    <a:pt x="246" y="0"/>
                  </a:moveTo>
                  <a:cubicBezTo>
                    <a:pt x="1072" y="0"/>
                    <a:pt x="1072" y="0"/>
                    <a:pt x="1072" y="0"/>
                  </a:cubicBezTo>
                  <a:cubicBezTo>
                    <a:pt x="1072" y="0"/>
                    <a:pt x="887" y="87"/>
                    <a:pt x="887" y="230"/>
                  </a:cubicBezTo>
                  <a:cubicBezTo>
                    <a:pt x="887" y="2717"/>
                    <a:pt x="887" y="2717"/>
                    <a:pt x="887" y="2717"/>
                  </a:cubicBezTo>
                  <a:cubicBezTo>
                    <a:pt x="887" y="3558"/>
                    <a:pt x="44" y="3696"/>
                    <a:pt x="0" y="3693"/>
                  </a:cubicBezTo>
                  <a:cubicBezTo>
                    <a:pt x="72" y="3647"/>
                    <a:pt x="422" y="3349"/>
                    <a:pt x="423" y="2717"/>
                  </a:cubicBezTo>
                  <a:cubicBezTo>
                    <a:pt x="423" y="230"/>
                    <a:pt x="423" y="230"/>
                    <a:pt x="423" y="230"/>
                  </a:cubicBezTo>
                  <a:cubicBezTo>
                    <a:pt x="424" y="96"/>
                    <a:pt x="246" y="0"/>
                    <a:pt x="246" y="0"/>
                  </a:cubicBez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6" name="Freeform 23"/>
            <p:cNvSpPr>
              <a:spLocks/>
            </p:cNvSpPr>
            <p:nvPr userDrawn="1"/>
          </p:nvSpPr>
          <p:spPr bwMode="gray">
            <a:xfrm>
              <a:off x="5380" y="200"/>
              <a:ext cx="33" cy="106"/>
            </a:xfrm>
            <a:custGeom>
              <a:avLst/>
              <a:gdLst>
                <a:gd name="T0" fmla="*/ 0 w 828"/>
                <a:gd name="T1" fmla="*/ 0 h 2653"/>
                <a:gd name="T2" fmla="*/ 828 w 828"/>
                <a:gd name="T3" fmla="*/ 0 h 2653"/>
                <a:gd name="T4" fmla="*/ 645 w 828"/>
                <a:gd name="T5" fmla="*/ 235 h 2653"/>
                <a:gd name="T6" fmla="*/ 645 w 828"/>
                <a:gd name="T7" fmla="*/ 2401 h 2653"/>
                <a:gd name="T8" fmla="*/ 828 w 828"/>
                <a:gd name="T9" fmla="*/ 2653 h 2653"/>
                <a:gd name="T10" fmla="*/ 0 w 828"/>
                <a:gd name="T11" fmla="*/ 2653 h 2653"/>
                <a:gd name="T12" fmla="*/ 184 w 828"/>
                <a:gd name="T13" fmla="*/ 2401 h 2653"/>
                <a:gd name="T14" fmla="*/ 184 w 828"/>
                <a:gd name="T15" fmla="*/ 235 h 2653"/>
                <a:gd name="T16" fmla="*/ 0 w 828"/>
                <a:gd name="T17" fmla="*/ 0 h 26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28" h="2653">
                  <a:moveTo>
                    <a:pt x="0" y="0"/>
                  </a:moveTo>
                  <a:cubicBezTo>
                    <a:pt x="828" y="0"/>
                    <a:pt x="828" y="0"/>
                    <a:pt x="828" y="0"/>
                  </a:cubicBezTo>
                  <a:cubicBezTo>
                    <a:pt x="828" y="0"/>
                    <a:pt x="645" y="89"/>
                    <a:pt x="645" y="235"/>
                  </a:cubicBezTo>
                  <a:cubicBezTo>
                    <a:pt x="645" y="2401"/>
                    <a:pt x="645" y="2401"/>
                    <a:pt x="645" y="2401"/>
                  </a:cubicBezTo>
                  <a:cubicBezTo>
                    <a:pt x="645" y="2556"/>
                    <a:pt x="828" y="2653"/>
                    <a:pt x="828" y="2653"/>
                  </a:cubicBezTo>
                  <a:cubicBezTo>
                    <a:pt x="0" y="2653"/>
                    <a:pt x="0" y="2653"/>
                    <a:pt x="0" y="2653"/>
                  </a:cubicBezTo>
                  <a:cubicBezTo>
                    <a:pt x="0" y="2653"/>
                    <a:pt x="184" y="2557"/>
                    <a:pt x="184" y="2401"/>
                  </a:cubicBezTo>
                  <a:cubicBezTo>
                    <a:pt x="184" y="235"/>
                    <a:pt x="184" y="235"/>
                    <a:pt x="184" y="235"/>
                  </a:cubicBezTo>
                  <a:cubicBezTo>
                    <a:pt x="184" y="8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7" name="Freeform 24"/>
            <p:cNvSpPr>
              <a:spLocks/>
            </p:cNvSpPr>
            <p:nvPr userDrawn="1"/>
          </p:nvSpPr>
          <p:spPr bwMode="gray">
            <a:xfrm>
              <a:off x="5414" y="200"/>
              <a:ext cx="79" cy="106"/>
            </a:xfrm>
            <a:custGeom>
              <a:avLst/>
              <a:gdLst>
                <a:gd name="T0" fmla="*/ 161 w 1984"/>
                <a:gd name="T1" fmla="*/ 0 h 2651"/>
                <a:gd name="T2" fmla="*/ 1984 w 1984"/>
                <a:gd name="T3" fmla="*/ 0 h 2651"/>
                <a:gd name="T4" fmla="*/ 1829 w 1984"/>
                <a:gd name="T5" fmla="*/ 482 h 2651"/>
                <a:gd name="T6" fmla="*/ 1607 w 1984"/>
                <a:gd name="T7" fmla="*/ 279 h 2651"/>
                <a:gd name="T8" fmla="*/ 1229 w 1984"/>
                <a:gd name="T9" fmla="*/ 279 h 2651"/>
                <a:gd name="T10" fmla="*/ 1229 w 1984"/>
                <a:gd name="T11" fmla="*/ 2401 h 2651"/>
                <a:gd name="T12" fmla="*/ 1407 w 1984"/>
                <a:gd name="T13" fmla="*/ 2651 h 2651"/>
                <a:gd name="T14" fmla="*/ 595 w 1984"/>
                <a:gd name="T15" fmla="*/ 2651 h 2651"/>
                <a:gd name="T16" fmla="*/ 771 w 1984"/>
                <a:gd name="T17" fmla="*/ 2401 h 2651"/>
                <a:gd name="T18" fmla="*/ 771 w 1984"/>
                <a:gd name="T19" fmla="*/ 279 h 2651"/>
                <a:gd name="T20" fmla="*/ 315 w 1984"/>
                <a:gd name="T21" fmla="*/ 279 h 2651"/>
                <a:gd name="T22" fmla="*/ 0 w 1984"/>
                <a:gd name="T23" fmla="*/ 522 h 2651"/>
                <a:gd name="T24" fmla="*/ 161 w 1984"/>
                <a:gd name="T25" fmla="*/ 0 h 2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84" h="2651">
                  <a:moveTo>
                    <a:pt x="161" y="0"/>
                  </a:moveTo>
                  <a:cubicBezTo>
                    <a:pt x="1984" y="0"/>
                    <a:pt x="1984" y="0"/>
                    <a:pt x="1984" y="0"/>
                  </a:cubicBezTo>
                  <a:cubicBezTo>
                    <a:pt x="1829" y="482"/>
                    <a:pt x="1829" y="482"/>
                    <a:pt x="1829" y="482"/>
                  </a:cubicBezTo>
                  <a:cubicBezTo>
                    <a:pt x="1829" y="482"/>
                    <a:pt x="1783" y="279"/>
                    <a:pt x="1607" y="279"/>
                  </a:cubicBezTo>
                  <a:cubicBezTo>
                    <a:pt x="1229" y="279"/>
                    <a:pt x="1229" y="279"/>
                    <a:pt x="1229" y="279"/>
                  </a:cubicBezTo>
                  <a:cubicBezTo>
                    <a:pt x="1229" y="2401"/>
                    <a:pt x="1229" y="2401"/>
                    <a:pt x="1229" y="2401"/>
                  </a:cubicBezTo>
                  <a:cubicBezTo>
                    <a:pt x="1229" y="2535"/>
                    <a:pt x="1407" y="2651"/>
                    <a:pt x="1407" y="2651"/>
                  </a:cubicBezTo>
                  <a:cubicBezTo>
                    <a:pt x="595" y="2651"/>
                    <a:pt x="595" y="2651"/>
                    <a:pt x="595" y="2651"/>
                  </a:cubicBezTo>
                  <a:cubicBezTo>
                    <a:pt x="595" y="2651"/>
                    <a:pt x="771" y="2547"/>
                    <a:pt x="771" y="2401"/>
                  </a:cubicBezTo>
                  <a:cubicBezTo>
                    <a:pt x="771" y="279"/>
                    <a:pt x="771" y="279"/>
                    <a:pt x="771" y="279"/>
                  </a:cubicBezTo>
                  <a:cubicBezTo>
                    <a:pt x="315" y="279"/>
                    <a:pt x="315" y="279"/>
                    <a:pt x="315" y="279"/>
                  </a:cubicBezTo>
                  <a:cubicBezTo>
                    <a:pt x="185" y="280"/>
                    <a:pt x="0" y="522"/>
                    <a:pt x="0" y="522"/>
                  </a:cubicBezTo>
                  <a:lnTo>
                    <a:pt x="161" y="0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8" name="Freeform 25"/>
            <p:cNvSpPr>
              <a:spLocks/>
            </p:cNvSpPr>
            <p:nvPr userDrawn="1"/>
          </p:nvSpPr>
          <p:spPr bwMode="gray">
            <a:xfrm>
              <a:off x="5558" y="200"/>
              <a:ext cx="88" cy="107"/>
            </a:xfrm>
            <a:custGeom>
              <a:avLst/>
              <a:gdLst>
                <a:gd name="T0" fmla="*/ 1420 w 2219"/>
                <a:gd name="T1" fmla="*/ 0 h 2693"/>
                <a:gd name="T2" fmla="*/ 2219 w 2219"/>
                <a:gd name="T3" fmla="*/ 0 h 2693"/>
                <a:gd name="T4" fmla="*/ 2048 w 2219"/>
                <a:gd name="T5" fmla="*/ 234 h 2693"/>
                <a:gd name="T6" fmla="*/ 2048 w 2219"/>
                <a:gd name="T7" fmla="*/ 1840 h 2693"/>
                <a:gd name="T8" fmla="*/ 1131 w 2219"/>
                <a:gd name="T9" fmla="*/ 2693 h 2693"/>
                <a:gd name="T10" fmla="*/ 176 w 2219"/>
                <a:gd name="T11" fmla="*/ 1840 h 2693"/>
                <a:gd name="T12" fmla="*/ 176 w 2219"/>
                <a:gd name="T13" fmla="*/ 234 h 2693"/>
                <a:gd name="T14" fmla="*/ 0 w 2219"/>
                <a:gd name="T15" fmla="*/ 0 h 2693"/>
                <a:gd name="T16" fmla="*/ 821 w 2219"/>
                <a:gd name="T17" fmla="*/ 0 h 2693"/>
                <a:gd name="T18" fmla="*/ 638 w 2219"/>
                <a:gd name="T19" fmla="*/ 234 h 2693"/>
                <a:gd name="T20" fmla="*/ 638 w 2219"/>
                <a:gd name="T21" fmla="*/ 1840 h 2693"/>
                <a:gd name="T22" fmla="*/ 1131 w 2219"/>
                <a:gd name="T23" fmla="*/ 2406 h 2693"/>
                <a:gd name="T24" fmla="*/ 1601 w 2219"/>
                <a:gd name="T25" fmla="*/ 1840 h 2693"/>
                <a:gd name="T26" fmla="*/ 1601 w 2219"/>
                <a:gd name="T27" fmla="*/ 234 h 2693"/>
                <a:gd name="T28" fmla="*/ 1420 w 2219"/>
                <a:gd name="T29" fmla="*/ 0 h 26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219" h="2693">
                  <a:moveTo>
                    <a:pt x="1420" y="0"/>
                  </a:moveTo>
                  <a:cubicBezTo>
                    <a:pt x="2219" y="0"/>
                    <a:pt x="2219" y="0"/>
                    <a:pt x="2219" y="0"/>
                  </a:cubicBezTo>
                  <a:cubicBezTo>
                    <a:pt x="2219" y="0"/>
                    <a:pt x="2048" y="91"/>
                    <a:pt x="2048" y="234"/>
                  </a:cubicBezTo>
                  <a:cubicBezTo>
                    <a:pt x="2048" y="1840"/>
                    <a:pt x="2048" y="1840"/>
                    <a:pt x="2048" y="1840"/>
                  </a:cubicBezTo>
                  <a:cubicBezTo>
                    <a:pt x="2047" y="2492"/>
                    <a:pt x="1506" y="2693"/>
                    <a:pt x="1131" y="2693"/>
                  </a:cubicBezTo>
                  <a:cubicBezTo>
                    <a:pt x="759" y="2693"/>
                    <a:pt x="175" y="2490"/>
                    <a:pt x="176" y="1840"/>
                  </a:cubicBezTo>
                  <a:cubicBezTo>
                    <a:pt x="176" y="234"/>
                    <a:pt x="176" y="234"/>
                    <a:pt x="176" y="234"/>
                  </a:cubicBezTo>
                  <a:cubicBezTo>
                    <a:pt x="176" y="91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8" y="88"/>
                    <a:pt x="638" y="234"/>
                  </a:cubicBezTo>
                  <a:cubicBezTo>
                    <a:pt x="638" y="1840"/>
                    <a:pt x="638" y="1840"/>
                    <a:pt x="638" y="1840"/>
                  </a:cubicBezTo>
                  <a:cubicBezTo>
                    <a:pt x="638" y="2182"/>
                    <a:pt x="865" y="2406"/>
                    <a:pt x="1131" y="2406"/>
                  </a:cubicBezTo>
                  <a:cubicBezTo>
                    <a:pt x="1397" y="2406"/>
                    <a:pt x="1600" y="2173"/>
                    <a:pt x="1601" y="1840"/>
                  </a:cubicBezTo>
                  <a:cubicBezTo>
                    <a:pt x="1601" y="234"/>
                    <a:pt x="1601" y="234"/>
                    <a:pt x="1601" y="234"/>
                  </a:cubicBezTo>
                  <a:cubicBezTo>
                    <a:pt x="1601" y="91"/>
                    <a:pt x="1420" y="0"/>
                    <a:pt x="1420" y="0"/>
                  </a:cubicBez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9" name="Freeform 26"/>
            <p:cNvSpPr>
              <a:spLocks/>
            </p:cNvSpPr>
            <p:nvPr userDrawn="1"/>
          </p:nvSpPr>
          <p:spPr bwMode="gray">
            <a:xfrm>
              <a:off x="5248" y="200"/>
              <a:ext cx="89" cy="108"/>
            </a:xfrm>
            <a:custGeom>
              <a:avLst/>
              <a:gdLst>
                <a:gd name="T0" fmla="*/ 1427 w 2240"/>
                <a:gd name="T1" fmla="*/ 0 h 2700"/>
                <a:gd name="T2" fmla="*/ 2240 w 2240"/>
                <a:gd name="T3" fmla="*/ 0 h 2700"/>
                <a:gd name="T4" fmla="*/ 2068 w 2240"/>
                <a:gd name="T5" fmla="*/ 237 h 2700"/>
                <a:gd name="T6" fmla="*/ 2067 w 2240"/>
                <a:gd name="T7" fmla="*/ 1838 h 2700"/>
                <a:gd name="T8" fmla="*/ 1122 w 2240"/>
                <a:gd name="T9" fmla="*/ 2700 h 2700"/>
                <a:gd name="T10" fmla="*/ 166 w 2240"/>
                <a:gd name="T11" fmla="*/ 1838 h 2700"/>
                <a:gd name="T12" fmla="*/ 166 w 2240"/>
                <a:gd name="T13" fmla="*/ 237 h 2700"/>
                <a:gd name="T14" fmla="*/ 0 w 2240"/>
                <a:gd name="T15" fmla="*/ 0 h 2700"/>
                <a:gd name="T16" fmla="*/ 821 w 2240"/>
                <a:gd name="T17" fmla="*/ 0 h 2700"/>
                <a:gd name="T18" fmla="*/ 631 w 2240"/>
                <a:gd name="T19" fmla="*/ 237 h 2700"/>
                <a:gd name="T20" fmla="*/ 630 w 2240"/>
                <a:gd name="T21" fmla="*/ 1838 h 2700"/>
                <a:gd name="T22" fmla="*/ 1122 w 2240"/>
                <a:gd name="T23" fmla="*/ 2413 h 2700"/>
                <a:gd name="T24" fmla="*/ 1602 w 2240"/>
                <a:gd name="T25" fmla="*/ 1838 h 2700"/>
                <a:gd name="T26" fmla="*/ 1603 w 2240"/>
                <a:gd name="T27" fmla="*/ 237 h 2700"/>
                <a:gd name="T28" fmla="*/ 1427 w 2240"/>
                <a:gd name="T29" fmla="*/ 0 h 27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240" h="2700">
                  <a:moveTo>
                    <a:pt x="1427" y="0"/>
                  </a:moveTo>
                  <a:cubicBezTo>
                    <a:pt x="2240" y="0"/>
                    <a:pt x="2240" y="0"/>
                    <a:pt x="2240" y="0"/>
                  </a:cubicBezTo>
                  <a:cubicBezTo>
                    <a:pt x="2240" y="0"/>
                    <a:pt x="2068" y="95"/>
                    <a:pt x="2068" y="237"/>
                  </a:cubicBezTo>
                  <a:cubicBezTo>
                    <a:pt x="2068" y="238"/>
                    <a:pt x="2067" y="1838"/>
                    <a:pt x="2067" y="1838"/>
                  </a:cubicBezTo>
                  <a:cubicBezTo>
                    <a:pt x="2067" y="2494"/>
                    <a:pt x="1501" y="2700"/>
                    <a:pt x="1122" y="2700"/>
                  </a:cubicBezTo>
                  <a:cubicBezTo>
                    <a:pt x="750" y="2700"/>
                    <a:pt x="166" y="2491"/>
                    <a:pt x="166" y="1838"/>
                  </a:cubicBezTo>
                  <a:cubicBezTo>
                    <a:pt x="166" y="237"/>
                    <a:pt x="166" y="237"/>
                    <a:pt x="166" y="237"/>
                  </a:cubicBezTo>
                  <a:cubicBezTo>
                    <a:pt x="166" y="94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1" y="94"/>
                    <a:pt x="631" y="237"/>
                  </a:cubicBezTo>
                  <a:cubicBezTo>
                    <a:pt x="630" y="1838"/>
                    <a:pt x="630" y="1838"/>
                    <a:pt x="630" y="1838"/>
                  </a:cubicBezTo>
                  <a:cubicBezTo>
                    <a:pt x="630" y="2178"/>
                    <a:pt x="856" y="2412"/>
                    <a:pt x="1122" y="2413"/>
                  </a:cubicBezTo>
                  <a:cubicBezTo>
                    <a:pt x="1388" y="2414"/>
                    <a:pt x="1602" y="2174"/>
                    <a:pt x="1602" y="1838"/>
                  </a:cubicBezTo>
                  <a:cubicBezTo>
                    <a:pt x="1603" y="237"/>
                    <a:pt x="1603" y="237"/>
                    <a:pt x="1603" y="237"/>
                  </a:cubicBezTo>
                  <a:cubicBezTo>
                    <a:pt x="1603" y="94"/>
                    <a:pt x="1427" y="0"/>
                    <a:pt x="1427" y="0"/>
                  </a:cubicBez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30" name="Freeform 27"/>
            <p:cNvSpPr>
              <a:spLocks/>
            </p:cNvSpPr>
            <p:nvPr userDrawn="1"/>
          </p:nvSpPr>
          <p:spPr bwMode="gray">
            <a:xfrm>
              <a:off x="5489" y="198"/>
              <a:ext cx="69" cy="110"/>
            </a:xfrm>
            <a:custGeom>
              <a:avLst/>
              <a:gdLst>
                <a:gd name="T0" fmla="*/ 1467 w 1707"/>
                <a:gd name="T1" fmla="*/ 479 h 2755"/>
                <a:gd name="T2" fmla="*/ 1019 w 1707"/>
                <a:gd name="T3" fmla="*/ 276 h 2755"/>
                <a:gd name="T4" fmla="*/ 504 w 1707"/>
                <a:gd name="T5" fmla="*/ 677 h 2755"/>
                <a:gd name="T6" fmla="*/ 995 w 1707"/>
                <a:gd name="T7" fmla="*/ 1174 h 2755"/>
                <a:gd name="T8" fmla="*/ 1705 w 1707"/>
                <a:gd name="T9" fmla="*/ 1974 h 2755"/>
                <a:gd name="T10" fmla="*/ 651 w 1707"/>
                <a:gd name="T11" fmla="*/ 2755 h 2755"/>
                <a:gd name="T12" fmla="*/ 155 w 1707"/>
                <a:gd name="T13" fmla="*/ 2686 h 2755"/>
                <a:gd name="T14" fmla="*/ 0 w 1707"/>
                <a:gd name="T15" fmla="*/ 2177 h 2755"/>
                <a:gd name="T16" fmla="*/ 658 w 1707"/>
                <a:gd name="T17" fmla="*/ 2466 h 2755"/>
                <a:gd name="T18" fmla="*/ 1252 w 1707"/>
                <a:gd name="T19" fmla="*/ 2030 h 2755"/>
                <a:gd name="T20" fmla="*/ 46 w 1707"/>
                <a:gd name="T21" fmla="*/ 731 h 2755"/>
                <a:gd name="T22" fmla="*/ 973 w 1707"/>
                <a:gd name="T23" fmla="*/ 0 h 2755"/>
                <a:gd name="T24" fmla="*/ 1467 w 1707"/>
                <a:gd name="T25" fmla="*/ 69 h 2755"/>
                <a:gd name="T26" fmla="*/ 1467 w 1707"/>
                <a:gd name="T27" fmla="*/ 479 h 2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07" h="2755">
                  <a:moveTo>
                    <a:pt x="1467" y="479"/>
                  </a:moveTo>
                  <a:cubicBezTo>
                    <a:pt x="1467" y="479"/>
                    <a:pt x="1352" y="277"/>
                    <a:pt x="1019" y="276"/>
                  </a:cubicBezTo>
                  <a:cubicBezTo>
                    <a:pt x="686" y="275"/>
                    <a:pt x="505" y="450"/>
                    <a:pt x="504" y="677"/>
                  </a:cubicBezTo>
                  <a:cubicBezTo>
                    <a:pt x="503" y="934"/>
                    <a:pt x="696" y="1031"/>
                    <a:pt x="995" y="1174"/>
                  </a:cubicBezTo>
                  <a:cubicBezTo>
                    <a:pt x="1279" y="1311"/>
                    <a:pt x="1707" y="1499"/>
                    <a:pt x="1705" y="1974"/>
                  </a:cubicBezTo>
                  <a:cubicBezTo>
                    <a:pt x="1704" y="2399"/>
                    <a:pt x="1327" y="2755"/>
                    <a:pt x="651" y="2755"/>
                  </a:cubicBezTo>
                  <a:cubicBezTo>
                    <a:pt x="442" y="2754"/>
                    <a:pt x="155" y="2686"/>
                    <a:pt x="155" y="2686"/>
                  </a:cubicBezTo>
                  <a:cubicBezTo>
                    <a:pt x="0" y="2177"/>
                    <a:pt x="0" y="2177"/>
                    <a:pt x="0" y="2177"/>
                  </a:cubicBezTo>
                  <a:cubicBezTo>
                    <a:pt x="143" y="2316"/>
                    <a:pt x="397" y="2466"/>
                    <a:pt x="658" y="2466"/>
                  </a:cubicBezTo>
                  <a:cubicBezTo>
                    <a:pt x="929" y="2466"/>
                    <a:pt x="1252" y="2298"/>
                    <a:pt x="1252" y="2030"/>
                  </a:cubicBezTo>
                  <a:cubicBezTo>
                    <a:pt x="1252" y="1512"/>
                    <a:pt x="46" y="1598"/>
                    <a:pt x="46" y="731"/>
                  </a:cubicBezTo>
                  <a:cubicBezTo>
                    <a:pt x="46" y="433"/>
                    <a:pt x="254" y="0"/>
                    <a:pt x="973" y="0"/>
                  </a:cubicBezTo>
                  <a:cubicBezTo>
                    <a:pt x="1207" y="0"/>
                    <a:pt x="1467" y="69"/>
                    <a:pt x="1467" y="69"/>
                  </a:cubicBezTo>
                  <a:lnTo>
                    <a:pt x="1467" y="479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</p:grpSp>
      <p:sp>
        <p:nvSpPr>
          <p:cNvPr id="361475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233363" y="880791"/>
            <a:ext cx="8645525" cy="38560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/>
              <a:t>第１レベル第１レベル第１レベル第１レベル第１レベル第１レベル第１レベル第１レベル第１レベル第１レベル第１レベル第１レベル</a:t>
            </a:r>
          </a:p>
          <a:p>
            <a:pPr lvl="1"/>
            <a:r>
              <a:rPr lang="ja-JP" altLang="en-US"/>
              <a:t>第２レベル第２レベル第２レベル第２レベル第２レベル第２レベル第２レベル第２レベル第２レベル第２レベル第２レベル第２レベル第２レベル第２レベル第２レベル</a:t>
            </a:r>
          </a:p>
          <a:p>
            <a:pPr lvl="2"/>
            <a:r>
              <a:rPr lang="ja-JP" altLang="en-US"/>
              <a:t>第３レベル第３レベル第３レベル第３レベル第３レベル第３レベル第３レベル第３レベル第３レベル第３レベル第３レベル第３レベル第３レベル第３レベル第３レベル第３レベル第３レベル第３レベル第３レベル第３レベル第３レベル第３レベル第３レベル</a:t>
            </a:r>
          </a:p>
          <a:p>
            <a:pPr lvl="3"/>
            <a:r>
              <a:rPr lang="ja-JP" altLang="en-US"/>
              <a:t>第４レベル第４レベル第４レベル第４レベル第４レベル第４レベル第４レベル第４レベル第４レベル第４レベル第４レベル第４レベル第４レベル第４レベル第４レベル第４レベル第４レベル第４レベル</a:t>
            </a:r>
          </a:p>
        </p:txBody>
      </p:sp>
      <p:sp>
        <p:nvSpPr>
          <p:cNvPr id="361476" name="Rectangle 4"/>
          <p:cNvSpPr>
            <a:spLocks noGrp="1" noChangeArrowheads="1"/>
          </p:cNvSpPr>
          <p:nvPr>
            <p:ph type="title"/>
          </p:nvPr>
        </p:nvSpPr>
        <p:spPr bwMode="gray">
          <a:xfrm>
            <a:off x="233363" y="0"/>
            <a:ext cx="7740000" cy="6945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/>
              <a:t>マスタ タイトルの書式設定</a:t>
            </a:r>
          </a:p>
        </p:txBody>
      </p:sp>
      <p:sp>
        <p:nvSpPr>
          <p:cNvPr id="361477" name="Rectangle 5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4932363" y="4935602"/>
            <a:ext cx="3960812" cy="2015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fontAlgn="base">
              <a:defRPr kumimoji="0"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altLang="ja-JP"/>
              <a:t>Copyright 2020 FUJITSU LIMITED</a:t>
            </a:r>
          </a:p>
        </p:txBody>
      </p:sp>
      <p:sp>
        <p:nvSpPr>
          <p:cNvPr id="361478" name="Rectangle 6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4300538" y="4937189"/>
            <a:ext cx="539750" cy="201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fontAlgn="base">
              <a:defRPr kumimoji="0" sz="800">
                <a:solidFill>
                  <a:schemeClr val="tx1"/>
                </a:solidFill>
              </a:defRPr>
            </a:lvl1pPr>
          </a:lstStyle>
          <a:p>
            <a:fld id="{2145D5DA-CF11-4C66-BB26-5DC06B07024B}" type="slidenum">
              <a:rPr lang="de-DE" altLang="ja-JP"/>
              <a:pPr/>
              <a:t>‹#›</a:t>
            </a:fld>
            <a:endParaRPr lang="de-DE" altLang="ja-JP"/>
          </a:p>
        </p:txBody>
      </p:sp>
      <p:sp>
        <p:nvSpPr>
          <p:cNvPr id="17" name="Line 4"/>
          <p:cNvSpPr>
            <a:spLocks noChangeShapeType="1"/>
          </p:cNvSpPr>
          <p:nvPr userDrawn="1"/>
        </p:nvSpPr>
        <p:spPr bwMode="gray">
          <a:xfrm>
            <a:off x="0" y="4918840"/>
            <a:ext cx="9144000" cy="0"/>
          </a:xfrm>
          <a:prstGeom prst="line">
            <a:avLst/>
          </a:prstGeom>
          <a:noFill/>
          <a:ln w="12700">
            <a:solidFill>
              <a:srgbClr val="87867E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4043672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69" r:id="rId1"/>
    <p:sldLayoutId id="2147484170" r:id="rId2"/>
    <p:sldLayoutId id="2147484171" r:id="rId3"/>
    <p:sldLayoutId id="2147484172" r:id="rId4"/>
    <p:sldLayoutId id="2147484173" r:id="rId5"/>
    <p:sldLayoutId id="2147484174" r:id="rId6"/>
    <p:sldLayoutId id="2147484175" r:id="rId7"/>
    <p:sldLayoutId id="2147484176" r:id="rId8"/>
    <p:sldLayoutId id="2147484177" r:id="rId9"/>
  </p:sldLayoutIdLst>
  <p:hf hdr="0" dt="0"/>
  <p:txStyles>
    <p:titleStyle>
      <a:lvl1pPr algn="l" rtl="0" fontAlgn="ctr">
        <a:lnSpc>
          <a:spcPct val="90000"/>
        </a:lnSpc>
        <a:spcBef>
          <a:spcPct val="0"/>
        </a:spcBef>
        <a:spcAft>
          <a:spcPct val="0"/>
        </a:spcAft>
        <a:defRPr kumimoji="1" sz="2800">
          <a:solidFill>
            <a:schemeClr val="tx2"/>
          </a:solidFill>
          <a:latin typeface="+mj-lt"/>
          <a:ea typeface="+mj-ea"/>
          <a:cs typeface="+mj-cs"/>
        </a:defRPr>
      </a:lvl1pPr>
      <a:lvl2pPr algn="l" rtl="0" fontAlgn="ctr">
        <a:lnSpc>
          <a:spcPct val="90000"/>
        </a:lnSpc>
        <a:spcBef>
          <a:spcPct val="0"/>
        </a:spcBef>
        <a:spcAft>
          <a:spcPct val="0"/>
        </a:spcAft>
        <a:defRPr kumimoji="1" sz="2800">
          <a:solidFill>
            <a:schemeClr val="tx2"/>
          </a:solidFill>
          <a:latin typeface="Arial" charset="0"/>
          <a:ea typeface="ＭＳ Ｐゴシック" pitchFamily="50" charset="-128"/>
        </a:defRPr>
      </a:lvl2pPr>
      <a:lvl3pPr algn="l" rtl="0" fontAlgn="ctr">
        <a:lnSpc>
          <a:spcPct val="90000"/>
        </a:lnSpc>
        <a:spcBef>
          <a:spcPct val="0"/>
        </a:spcBef>
        <a:spcAft>
          <a:spcPct val="0"/>
        </a:spcAft>
        <a:defRPr kumimoji="1" sz="2800">
          <a:solidFill>
            <a:schemeClr val="tx2"/>
          </a:solidFill>
          <a:latin typeface="Arial" charset="0"/>
          <a:ea typeface="ＭＳ Ｐゴシック" pitchFamily="50" charset="-128"/>
        </a:defRPr>
      </a:lvl3pPr>
      <a:lvl4pPr algn="l" rtl="0" fontAlgn="ctr">
        <a:lnSpc>
          <a:spcPct val="90000"/>
        </a:lnSpc>
        <a:spcBef>
          <a:spcPct val="0"/>
        </a:spcBef>
        <a:spcAft>
          <a:spcPct val="0"/>
        </a:spcAft>
        <a:defRPr kumimoji="1" sz="2800">
          <a:solidFill>
            <a:schemeClr val="tx2"/>
          </a:solidFill>
          <a:latin typeface="Arial" charset="0"/>
          <a:ea typeface="ＭＳ Ｐゴシック" pitchFamily="50" charset="-128"/>
        </a:defRPr>
      </a:lvl4pPr>
      <a:lvl5pPr algn="l" rtl="0" fontAlgn="ctr">
        <a:lnSpc>
          <a:spcPct val="90000"/>
        </a:lnSpc>
        <a:spcBef>
          <a:spcPct val="0"/>
        </a:spcBef>
        <a:spcAft>
          <a:spcPct val="0"/>
        </a:spcAft>
        <a:defRPr kumimoji="1" sz="2800">
          <a:solidFill>
            <a:schemeClr val="tx2"/>
          </a:solidFill>
          <a:latin typeface="Arial" charset="0"/>
          <a:ea typeface="ＭＳ Ｐゴシック" pitchFamily="50" charset="-128"/>
        </a:defRPr>
      </a:lvl5pPr>
      <a:lvl6pPr marL="457200" algn="l" rtl="0" fontAlgn="ctr">
        <a:lnSpc>
          <a:spcPct val="90000"/>
        </a:lnSpc>
        <a:spcBef>
          <a:spcPct val="0"/>
        </a:spcBef>
        <a:spcAft>
          <a:spcPct val="0"/>
        </a:spcAft>
        <a:defRPr kumimoji="1" sz="2800">
          <a:solidFill>
            <a:schemeClr val="tx2"/>
          </a:solidFill>
          <a:latin typeface="Arial" charset="0"/>
          <a:ea typeface="ＭＳ Ｐゴシック" pitchFamily="50" charset="-128"/>
        </a:defRPr>
      </a:lvl6pPr>
      <a:lvl7pPr marL="914400" algn="l" rtl="0" fontAlgn="ctr">
        <a:lnSpc>
          <a:spcPct val="90000"/>
        </a:lnSpc>
        <a:spcBef>
          <a:spcPct val="0"/>
        </a:spcBef>
        <a:spcAft>
          <a:spcPct val="0"/>
        </a:spcAft>
        <a:defRPr kumimoji="1" sz="2800">
          <a:solidFill>
            <a:schemeClr val="tx2"/>
          </a:solidFill>
          <a:latin typeface="Arial" charset="0"/>
          <a:ea typeface="ＭＳ Ｐゴシック" pitchFamily="50" charset="-128"/>
        </a:defRPr>
      </a:lvl7pPr>
      <a:lvl8pPr marL="1371600" algn="l" rtl="0" fontAlgn="ctr">
        <a:lnSpc>
          <a:spcPct val="90000"/>
        </a:lnSpc>
        <a:spcBef>
          <a:spcPct val="0"/>
        </a:spcBef>
        <a:spcAft>
          <a:spcPct val="0"/>
        </a:spcAft>
        <a:defRPr kumimoji="1" sz="2800">
          <a:solidFill>
            <a:schemeClr val="tx2"/>
          </a:solidFill>
          <a:latin typeface="Arial" charset="0"/>
          <a:ea typeface="ＭＳ Ｐゴシック" pitchFamily="50" charset="-128"/>
        </a:defRPr>
      </a:lvl8pPr>
      <a:lvl9pPr marL="1828800" algn="l" rtl="0" fontAlgn="ctr">
        <a:lnSpc>
          <a:spcPct val="90000"/>
        </a:lnSpc>
        <a:spcBef>
          <a:spcPct val="0"/>
        </a:spcBef>
        <a:spcAft>
          <a:spcPct val="0"/>
        </a:spcAft>
        <a:defRPr kumimoji="1" sz="2800">
          <a:solidFill>
            <a:schemeClr val="tx2"/>
          </a:solidFill>
          <a:latin typeface="Arial" charset="0"/>
          <a:ea typeface="ＭＳ Ｐゴシック" pitchFamily="50" charset="-128"/>
        </a:defRPr>
      </a:lvl9pPr>
    </p:titleStyle>
    <p:bodyStyle>
      <a:lvl1pPr marL="266700" indent="-266700" algn="l" defTabSz="809625" rtl="0" fontAlgn="ctr">
        <a:lnSpc>
          <a:spcPct val="100000"/>
        </a:lnSpc>
        <a:spcBef>
          <a:spcPct val="20000"/>
        </a:spcBef>
        <a:spcAft>
          <a:spcPct val="10000"/>
        </a:spcAft>
        <a:buClr>
          <a:srgbClr val="A30B1A"/>
        </a:buClr>
        <a:buFont typeface="Wingdings" pitchFamily="2" charset="2"/>
        <a:buChar char="n"/>
        <a:defRPr kumimoji="1" sz="2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246063" algn="l" defTabSz="809625" rtl="0" fontAlgn="ctr">
        <a:lnSpc>
          <a:spcPct val="100000"/>
        </a:lnSpc>
        <a:spcBef>
          <a:spcPct val="20000"/>
        </a:spcBef>
        <a:spcAft>
          <a:spcPct val="10000"/>
        </a:spcAft>
        <a:buClr>
          <a:srgbClr val="87867E"/>
        </a:buClr>
        <a:buFont typeface="Wingdings" pitchFamily="2" charset="2"/>
        <a:buChar char="n"/>
        <a:defRPr kumimoji="1">
          <a:solidFill>
            <a:schemeClr val="tx1"/>
          </a:solidFill>
          <a:latin typeface="+mn-lt"/>
          <a:ea typeface="+mn-ea"/>
        </a:defRPr>
      </a:lvl2pPr>
      <a:lvl3pPr marL="677863" indent="-141288" algn="l" defTabSz="809625" rtl="0" fontAlgn="ctr">
        <a:lnSpc>
          <a:spcPct val="100000"/>
        </a:lnSpc>
        <a:spcBef>
          <a:spcPct val="20000"/>
        </a:spcBef>
        <a:spcAft>
          <a:spcPct val="10000"/>
        </a:spcAft>
        <a:buClr>
          <a:srgbClr val="808080"/>
        </a:buClr>
        <a:buFont typeface="Arial" panose="020B0604020202020204" pitchFamily="34" charset="0"/>
        <a:buChar char="•"/>
        <a:defRPr kumimoji="1" sz="1600">
          <a:solidFill>
            <a:schemeClr val="tx1"/>
          </a:solidFill>
          <a:latin typeface="+mn-lt"/>
          <a:ea typeface="+mn-ea"/>
        </a:defRPr>
      </a:lvl3pPr>
      <a:lvl4pPr marL="814388" indent="-130175" algn="l" defTabSz="809625" rtl="0" fontAlgn="base">
        <a:lnSpc>
          <a:spcPct val="100000"/>
        </a:lnSpc>
        <a:spcBef>
          <a:spcPct val="20000"/>
        </a:spcBef>
        <a:spcAft>
          <a:spcPct val="10000"/>
        </a:spcAft>
        <a:buClr>
          <a:srgbClr val="87867E"/>
        </a:buClr>
        <a:buSzPct val="100000"/>
        <a:buFont typeface="Arial" panose="020B0604020202020204" pitchFamily="34" charset="0"/>
        <a:buChar char="•"/>
        <a:defRPr kumimoji="1" sz="1400">
          <a:solidFill>
            <a:schemeClr val="tx1"/>
          </a:solidFill>
          <a:latin typeface="+mn-lt"/>
          <a:ea typeface="+mn-ea"/>
        </a:defRPr>
      </a:lvl4pPr>
      <a:lvl5pPr marL="2057400" indent="-228600" algn="l" defTabSz="809625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defTabSz="809625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defTabSz="809625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defTabSz="809625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defTabSz="809625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31.svg"/><Relationship Id="rId4" Type="http://schemas.openxmlformats.org/officeDocument/2006/relationships/image" Target="../media/image3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31.svg"/><Relationship Id="rId4" Type="http://schemas.openxmlformats.org/officeDocument/2006/relationships/image" Target="../media/image33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image" Target="../media/image32.png"/><Relationship Id="rId7" Type="http://schemas.openxmlformats.org/officeDocument/2006/relationships/image" Target="../media/image3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1.svg"/><Relationship Id="rId5" Type="http://schemas.openxmlformats.org/officeDocument/2006/relationships/image" Target="../media/image33.png"/><Relationship Id="rId4" Type="http://schemas.openxmlformats.org/officeDocument/2006/relationships/image" Target="../media/image29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13" Type="http://schemas.openxmlformats.org/officeDocument/2006/relationships/image" Target="../media/image43.jpeg"/><Relationship Id="rId3" Type="http://schemas.openxmlformats.org/officeDocument/2006/relationships/image" Target="../media/image29.svg"/><Relationship Id="rId7" Type="http://schemas.openxmlformats.org/officeDocument/2006/relationships/image" Target="../media/image37.png"/><Relationship Id="rId12" Type="http://schemas.openxmlformats.org/officeDocument/2006/relationships/image" Target="../media/image42.jpe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6.png"/><Relationship Id="rId11" Type="http://schemas.openxmlformats.org/officeDocument/2006/relationships/image" Target="../media/image41.jpeg"/><Relationship Id="rId5" Type="http://schemas.openxmlformats.org/officeDocument/2006/relationships/image" Target="../media/image31.svg"/><Relationship Id="rId15" Type="http://schemas.openxmlformats.org/officeDocument/2006/relationships/image" Target="../media/image45.jpeg"/><Relationship Id="rId10" Type="http://schemas.openxmlformats.org/officeDocument/2006/relationships/image" Target="../media/image40.jpeg"/><Relationship Id="rId4" Type="http://schemas.openxmlformats.org/officeDocument/2006/relationships/image" Target="../media/image33.png"/><Relationship Id="rId9" Type="http://schemas.openxmlformats.org/officeDocument/2006/relationships/image" Target="../media/image39.jpeg"/><Relationship Id="rId14" Type="http://schemas.openxmlformats.org/officeDocument/2006/relationships/image" Target="../media/image44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グラフィックス 15">
            <a:extLst>
              <a:ext uri="{FF2B5EF4-FFF2-40B4-BE49-F238E27FC236}">
                <a16:creationId xmlns:a16="http://schemas.microsoft.com/office/drawing/2014/main" id="{303FC761-38EE-4DBE-845B-FAD3926B34D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26519" y="120639"/>
            <a:ext cx="1678744" cy="1590852"/>
          </a:xfrm>
          <a:prstGeom prst="rect">
            <a:avLst/>
          </a:prstGeom>
        </p:spPr>
      </p:pic>
      <p:pic>
        <p:nvPicPr>
          <p:cNvPr id="6" name="グラフィックス 5">
            <a:extLst>
              <a:ext uri="{FF2B5EF4-FFF2-40B4-BE49-F238E27FC236}">
                <a16:creationId xmlns:a16="http://schemas.microsoft.com/office/drawing/2014/main" id="{CA10398E-EEB3-4B61-A81F-E1BA128D303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281103" y="785013"/>
            <a:ext cx="5309275" cy="375617"/>
          </a:xfrm>
          <a:prstGeom prst="rect">
            <a:avLst/>
          </a:prstGeom>
        </p:spPr>
      </p:pic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E74005B9-8F16-44CB-9E42-7B58C0332C8C}"/>
              </a:ext>
            </a:extLst>
          </p:cNvPr>
          <p:cNvSpPr/>
          <p:nvPr/>
        </p:nvSpPr>
        <p:spPr>
          <a:xfrm>
            <a:off x="3976680" y="3470253"/>
            <a:ext cx="1219545" cy="338554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pPr algn="ctr" defTabSz="914126" fontAlgn="ctr">
              <a:spcBef>
                <a:spcPct val="0"/>
              </a:spcBef>
              <a:defRPr/>
            </a:pPr>
            <a:r>
              <a:rPr lang="en-US" altLang="ja-JP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G</a:t>
            </a:r>
            <a:r>
              <a:rPr lang="ja-JP" altLang="en-US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oal</a:t>
            </a:r>
            <a:endParaRPr kumimoji="1" lang="en-US" altLang="ja-JP" sz="1600" kern="100" dirty="0">
              <a:solidFill>
                <a:schemeClr val="tx1">
                  <a:lumMod val="65000"/>
                  <a:lumOff val="35000"/>
                </a:schemeClr>
              </a:solidFill>
              <a:latin typeface="Meiryo UI" panose="020B0604030504040204" pitchFamily="50" charset="-128"/>
              <a:ea typeface="Meiryo UI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6422F76B-19EB-4A8E-B334-066EF1FBD415}"/>
              </a:ext>
            </a:extLst>
          </p:cNvPr>
          <p:cNvSpPr/>
          <p:nvPr/>
        </p:nvSpPr>
        <p:spPr>
          <a:xfrm>
            <a:off x="890480" y="2191783"/>
            <a:ext cx="7391946" cy="6890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ja-JP" sz="1280" kern="100" dirty="0">
                <a:solidFill>
                  <a:schemeClr val="tx1">
                    <a:lumMod val="65000"/>
                    <a:lumOff val="35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Times New Roman" panose="02020603050405020304" pitchFamily="18" charset="0"/>
              </a:rPr>
              <a:t>Provide full support for</a:t>
            </a:r>
            <a:r>
              <a:rPr kumimoji="1" lang="ja-JP" altLang="en-US" sz="1280" kern="100" dirty="0">
                <a:solidFill>
                  <a:schemeClr val="tx1">
                    <a:lumMod val="65000"/>
                    <a:lumOff val="35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Times New Roman" panose="02020603050405020304" pitchFamily="18" charset="0"/>
              </a:rPr>
              <a:t> </a:t>
            </a:r>
            <a:r>
              <a:rPr kumimoji="1" lang="en-US" altLang="ja-JP" sz="1280" kern="100" dirty="0">
                <a:solidFill>
                  <a:schemeClr val="tx1">
                    <a:lumMod val="65000"/>
                    <a:lumOff val="35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Times New Roman" panose="02020603050405020304" pitchFamily="18" charset="0"/>
              </a:rPr>
              <a:t>all employees who want to embark on this challenge, and world-class education on topics such as entrepreneurial skills and mindset.</a:t>
            </a:r>
          </a:p>
          <a:p>
            <a:pPr algn="ctr"/>
            <a:r>
              <a:rPr kumimoji="1" lang="en-US" altLang="ja-JP" sz="1280" kern="100" dirty="0">
                <a:solidFill>
                  <a:schemeClr val="tx1">
                    <a:lumMod val="65000"/>
                    <a:lumOff val="35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Times New Roman" panose="02020603050405020304" pitchFamily="18" charset="0"/>
              </a:rPr>
              <a:t>Are you Ready?</a:t>
            </a:r>
          </a:p>
        </p:txBody>
      </p:sp>
      <p:sp>
        <p:nvSpPr>
          <p:cNvPr id="14" name="正方形/長方形 13">
            <a:extLst>
              <a:ext uri="{FF2B5EF4-FFF2-40B4-BE49-F238E27FC236}">
                <a16:creationId xmlns:a16="http://schemas.microsoft.com/office/drawing/2014/main" id="{0A9E0778-2F03-474F-9420-41A3B9E0087A}"/>
              </a:ext>
            </a:extLst>
          </p:cNvPr>
          <p:cNvSpPr/>
          <p:nvPr/>
        </p:nvSpPr>
        <p:spPr>
          <a:xfrm>
            <a:off x="752203" y="3914687"/>
            <a:ext cx="8159880" cy="289310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pPr algn="ctr" defTabSz="914126" fontAlgn="ctr">
              <a:spcBef>
                <a:spcPct val="0"/>
              </a:spcBef>
              <a:defRPr/>
            </a:pPr>
            <a:r>
              <a:rPr lang="ja-JP" altLang="en-US" sz="1280" dirty="0">
                <a:solidFill>
                  <a:schemeClr val="tx1">
                    <a:lumMod val="65000"/>
                    <a:lumOff val="35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Create 1000 Intrapreneurs who grow themselves and challenge through learning and practice</a:t>
            </a:r>
            <a:endParaRPr kumimoji="1" lang="en-US" altLang="ja-JP" sz="1280" kern="100" dirty="0">
              <a:solidFill>
                <a:schemeClr val="tx1">
                  <a:lumMod val="65000"/>
                  <a:lumOff val="35000"/>
                </a:schemeClr>
              </a:solidFill>
              <a:latin typeface="Meiryo UI" panose="020B0604030504040204" pitchFamily="50" charset="-128"/>
              <a:ea typeface="Meiryo UI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22" name="正方形/長方形 21">
            <a:extLst>
              <a:ext uri="{FF2B5EF4-FFF2-40B4-BE49-F238E27FC236}">
                <a16:creationId xmlns:a16="http://schemas.microsoft.com/office/drawing/2014/main" id="{3A2DA62B-9677-40D3-83B6-430F8C3FD55F}"/>
              </a:ext>
            </a:extLst>
          </p:cNvPr>
          <p:cNvSpPr/>
          <p:nvPr/>
        </p:nvSpPr>
        <p:spPr>
          <a:xfrm>
            <a:off x="1240779" y="4358610"/>
            <a:ext cx="7458636" cy="289310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pPr algn="ctr" defTabSz="914126" fontAlgn="ctr">
              <a:spcBef>
                <a:spcPct val="0"/>
              </a:spcBef>
              <a:defRPr/>
            </a:pPr>
            <a:r>
              <a:rPr kumimoji="1" lang="en-US" altLang="ja-JP" sz="1280" kern="100" dirty="0">
                <a:solidFill>
                  <a:schemeClr val="tx1">
                    <a:lumMod val="65000"/>
                    <a:lumOff val="35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Times New Roman" panose="02020603050405020304" pitchFamily="18" charset="0"/>
              </a:rPr>
              <a:t>Launch 10 innovative business to realize </a:t>
            </a:r>
            <a:r>
              <a:rPr kumimoji="1" lang="en-US" altLang="ja-JP" sz="1280" kern="1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Times New Roman" panose="02020603050405020304" pitchFamily="18" charset="0"/>
              </a:rPr>
              <a:t>Uvance</a:t>
            </a:r>
            <a:endParaRPr kumimoji="1" lang="en-US" altLang="ja-JP" sz="1280" kern="100" dirty="0">
              <a:solidFill>
                <a:schemeClr val="tx1">
                  <a:lumMod val="65000"/>
                  <a:lumOff val="35000"/>
                </a:schemeClr>
              </a:solidFill>
              <a:latin typeface="Meiryo UI" panose="020B0604030504040204" pitchFamily="50" charset="-128"/>
              <a:ea typeface="Meiryo UI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23" name="テキスト ボックス 22">
            <a:extLst>
              <a:ext uri="{FF2B5EF4-FFF2-40B4-BE49-F238E27FC236}">
                <a16:creationId xmlns:a16="http://schemas.microsoft.com/office/drawing/2014/main" id="{BBD30DC3-2D38-43A6-BD21-AC44F26D2912}"/>
              </a:ext>
            </a:extLst>
          </p:cNvPr>
          <p:cNvSpPr txBox="1"/>
          <p:nvPr/>
        </p:nvSpPr>
        <p:spPr>
          <a:xfrm>
            <a:off x="3740184" y="1843768"/>
            <a:ext cx="178952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ja-JP" altLang="en-US" sz="1600" b="1" kern="100" dirty="0">
                <a:solidFill>
                  <a:schemeClr val="tx1">
                    <a:lumMod val="65000"/>
                    <a:lumOff val="35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Times New Roman" panose="02020603050405020304" pitchFamily="18" charset="0"/>
              </a:rPr>
              <a:t>Vision</a:t>
            </a:r>
            <a:endParaRPr kumimoji="1" lang="en-US" altLang="ja-JP" sz="1600" b="1" kern="100" dirty="0">
              <a:solidFill>
                <a:schemeClr val="tx1">
                  <a:lumMod val="65000"/>
                  <a:lumOff val="35000"/>
                </a:schemeClr>
              </a:solidFill>
              <a:latin typeface="Meiryo UI" panose="020B0604030504040204" pitchFamily="50" charset="-128"/>
              <a:ea typeface="Meiryo UI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24" name="テキスト ボックス 23">
            <a:extLst>
              <a:ext uri="{FF2B5EF4-FFF2-40B4-BE49-F238E27FC236}">
                <a16:creationId xmlns:a16="http://schemas.microsoft.com/office/drawing/2014/main" id="{1F1C7117-10F6-43A6-9952-A2A658880CA1}"/>
              </a:ext>
            </a:extLst>
          </p:cNvPr>
          <p:cNvSpPr txBox="1"/>
          <p:nvPr/>
        </p:nvSpPr>
        <p:spPr>
          <a:xfrm>
            <a:off x="1951047" y="4136842"/>
            <a:ext cx="146706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ja-JP" altLang="en-US" sz="800" dirty="0"/>
              <a:t>(In-house entrepreneurs)</a:t>
            </a:r>
          </a:p>
        </p:txBody>
      </p:sp>
      <p:sp>
        <p:nvSpPr>
          <p:cNvPr id="25" name="テキスト ボックス 24">
            <a:extLst>
              <a:ext uri="{FF2B5EF4-FFF2-40B4-BE49-F238E27FC236}">
                <a16:creationId xmlns:a16="http://schemas.microsoft.com/office/drawing/2014/main" id="{3228F7C1-17CD-4A4E-9DA6-9E2DCCC051D7}"/>
              </a:ext>
            </a:extLst>
          </p:cNvPr>
          <p:cNvSpPr txBox="1"/>
          <p:nvPr/>
        </p:nvSpPr>
        <p:spPr>
          <a:xfrm>
            <a:off x="7323909" y="4636840"/>
            <a:ext cx="139333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kumimoji="1" lang="en-US" altLang="ja-JP" sz="800" dirty="0"/>
              <a:t>*in the next three years</a:t>
            </a:r>
          </a:p>
        </p:txBody>
      </p:sp>
      <p:sp>
        <p:nvSpPr>
          <p:cNvPr id="26" name="フッター プレースホルダー 1">
            <a:extLst>
              <a:ext uri="{FF2B5EF4-FFF2-40B4-BE49-F238E27FC236}">
                <a16:creationId xmlns:a16="http://schemas.microsoft.com/office/drawing/2014/main" id="{49863A04-66CE-4200-8688-559B9A0483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7323909" y="4994816"/>
            <a:ext cx="1589691" cy="111600"/>
          </a:xfrm>
        </p:spPr>
        <p:txBody>
          <a:bodyPr/>
          <a:lstStyle/>
          <a:p>
            <a:pPr>
              <a:defRPr/>
            </a:pPr>
            <a:r>
              <a:rPr lang="en-US" altLang="ja-JP" dirty="0">
                <a:solidFill>
                  <a:srgbClr val="000000"/>
                </a:solidFill>
              </a:rPr>
              <a:t>Copyright 2021 FUJITSU LIMITED</a:t>
            </a:r>
            <a:endParaRPr lang="de-DE" altLang="ja-JP" dirty="0">
              <a:solidFill>
                <a:srgbClr val="000000"/>
              </a:solidFill>
            </a:endParaRPr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3FBB122E-A330-45E1-B94D-FC3580840CD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B5B02AC-72C7-48A8-B1FA-68CE81373FC9}" type="slidenum">
              <a:rPr lang="en-US" altLang="ja-JP" smtClean="0"/>
              <a:pPr/>
              <a:t>1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59957899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正方形/長方形 36">
            <a:extLst>
              <a:ext uri="{FF2B5EF4-FFF2-40B4-BE49-F238E27FC236}">
                <a16:creationId xmlns:a16="http://schemas.microsoft.com/office/drawing/2014/main" id="{FBE79C7D-CA99-4324-9790-1D71C610D50E}"/>
              </a:ext>
            </a:extLst>
          </p:cNvPr>
          <p:cNvSpPr/>
          <p:nvPr/>
        </p:nvSpPr>
        <p:spPr>
          <a:xfrm>
            <a:off x="0" y="1248519"/>
            <a:ext cx="9144000" cy="364028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kumimoji="1" lang="ja-JP" altLang="en-US">
              <a:solidFill>
                <a:schemeClr val="tx1"/>
              </a:solidFill>
              <a:latin typeface="Yu Gothic UI" panose="020B0500000000000000" pitchFamily="50" charset="-128"/>
              <a:ea typeface="Yu Gothic UI" panose="020B0500000000000000" pitchFamily="50" charset="-128"/>
            </a:endParaRPr>
          </a:p>
        </p:txBody>
      </p:sp>
      <p:sp>
        <p:nvSpPr>
          <p:cNvPr id="2" name="フッター プレースホルダー 1">
            <a:extLst>
              <a:ext uri="{FF2B5EF4-FFF2-40B4-BE49-F238E27FC236}">
                <a16:creationId xmlns:a16="http://schemas.microsoft.com/office/drawing/2014/main" id="{EDAE9101-A85E-413F-A9EA-CFC448E50F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7323909" y="4994816"/>
            <a:ext cx="1589691" cy="111600"/>
          </a:xfrm>
        </p:spPr>
        <p:txBody>
          <a:bodyPr/>
          <a:lstStyle/>
          <a:p>
            <a:pPr>
              <a:defRPr/>
            </a:pPr>
            <a:r>
              <a:rPr lang="en-US" altLang="ja-JP">
                <a:solidFill>
                  <a:srgbClr val="000000"/>
                </a:solidFill>
              </a:rPr>
              <a:t>Copyright 2021 FUJITSU LIMITED</a:t>
            </a:r>
            <a:endParaRPr lang="de-DE" altLang="ja-JP">
              <a:solidFill>
                <a:srgbClr val="000000"/>
              </a:solidFill>
            </a:endParaRPr>
          </a:p>
        </p:txBody>
      </p:sp>
      <p:sp>
        <p:nvSpPr>
          <p:cNvPr id="6" name="円/楕円 5">
            <a:extLst>
              <a:ext uri="{FF2B5EF4-FFF2-40B4-BE49-F238E27FC236}">
                <a16:creationId xmlns:a16="http://schemas.microsoft.com/office/drawing/2014/main" id="{842ADCBC-0EDF-483D-9890-D5634B6499DD}"/>
              </a:ext>
            </a:extLst>
          </p:cNvPr>
          <p:cNvSpPr/>
          <p:nvPr/>
        </p:nvSpPr>
        <p:spPr bwMode="gray">
          <a:xfrm>
            <a:off x="521097" y="2651960"/>
            <a:ext cx="2520000" cy="491325"/>
          </a:xfrm>
          <a:prstGeom prst="rect">
            <a:avLst/>
          </a:prstGeom>
          <a:solidFill>
            <a:srgbClr val="2C96A4"/>
          </a:solidFill>
          <a:ln w="9525">
            <a:noFill/>
            <a:miter lim="800000"/>
            <a:headEnd/>
            <a:tailEnd/>
          </a:ln>
        </p:spPr>
        <p:txBody>
          <a:bodyPr vert="horz" wrap="square" lIns="27000" tIns="27000" rIns="27000" bIns="27000" numCol="1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800" b="1" i="0" u="none" strike="noStrike" kern="1200" cap="none" spc="0" normalizeH="0" baseline="0" noProof="0">
              <a:ln>
                <a:noFill/>
              </a:ln>
              <a:solidFill>
                <a:srgbClr val="235C73"/>
              </a:solidFill>
              <a:effectLst/>
              <a:uLnTx/>
              <a:uFillTx/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7" name="円/楕円 5">
            <a:extLst>
              <a:ext uri="{FF2B5EF4-FFF2-40B4-BE49-F238E27FC236}">
                <a16:creationId xmlns:a16="http://schemas.microsoft.com/office/drawing/2014/main" id="{6217094B-5946-4356-A824-0615E74399C2}"/>
              </a:ext>
            </a:extLst>
          </p:cNvPr>
          <p:cNvSpPr/>
          <p:nvPr/>
        </p:nvSpPr>
        <p:spPr bwMode="gray">
          <a:xfrm>
            <a:off x="3312000" y="2216559"/>
            <a:ext cx="2520000" cy="491325"/>
          </a:xfrm>
          <a:prstGeom prst="rect">
            <a:avLst/>
          </a:prstGeom>
          <a:solidFill>
            <a:srgbClr val="FC4664"/>
          </a:solidFill>
          <a:ln w="9525">
            <a:noFill/>
            <a:miter lim="800000"/>
            <a:headEnd/>
            <a:tailEnd/>
          </a:ln>
        </p:spPr>
        <p:txBody>
          <a:bodyPr vert="horz" wrap="square" lIns="27000" tIns="27000" rIns="27000" bIns="27000" numCol="1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8" name="円/楕円 5">
            <a:extLst>
              <a:ext uri="{FF2B5EF4-FFF2-40B4-BE49-F238E27FC236}">
                <a16:creationId xmlns:a16="http://schemas.microsoft.com/office/drawing/2014/main" id="{2BD19C5A-2A7B-428D-AB33-1BF302518787}"/>
              </a:ext>
            </a:extLst>
          </p:cNvPr>
          <p:cNvSpPr/>
          <p:nvPr/>
        </p:nvSpPr>
        <p:spPr bwMode="gray">
          <a:xfrm>
            <a:off x="6112933" y="1814351"/>
            <a:ext cx="2520000" cy="491325"/>
          </a:xfrm>
          <a:prstGeom prst="rect">
            <a:avLst/>
          </a:prstGeom>
          <a:solidFill>
            <a:srgbClr val="637AB5"/>
          </a:solidFill>
          <a:ln w="9525">
            <a:noFill/>
            <a:miter lim="800000"/>
            <a:headEnd/>
            <a:tailEnd/>
          </a:ln>
        </p:spPr>
        <p:txBody>
          <a:bodyPr vert="horz" wrap="square" lIns="27000" tIns="27000" rIns="27000" bIns="27000" numCol="1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800" b="1" i="0" u="none" strike="noStrike" kern="1200" cap="none" spc="0" normalizeH="0" baseline="0" noProof="0">
              <a:ln>
                <a:noFill/>
              </a:ln>
              <a:solidFill>
                <a:srgbClr val="615A84"/>
              </a:solidFill>
              <a:effectLst/>
              <a:uLnTx/>
              <a:uFillTx/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9" name="Rectangle 49">
            <a:extLst>
              <a:ext uri="{FF2B5EF4-FFF2-40B4-BE49-F238E27FC236}">
                <a16:creationId xmlns:a16="http://schemas.microsoft.com/office/drawing/2014/main" id="{A5A3E635-19AB-46DC-8CF1-91BB7C62E5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1097" y="4078707"/>
            <a:ext cx="2520000" cy="685812"/>
          </a:xfrm>
          <a:prstGeom prst="rect">
            <a:avLst/>
          </a:prstGeom>
          <a:solidFill>
            <a:srgbClr val="2C96A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vert="horz" wrap="square" lIns="27000" tIns="27000" rIns="27000" bIns="27000" numCol="1" anchor="ctr" anchorCtr="0" compatLnSpc="1">
            <a:prstTxWarp prst="textNoShape">
              <a:avLst/>
            </a:prstTxWarp>
            <a:no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en-US" altLang="ja-JP" sz="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10" name="正方形/長方形 9">
            <a:extLst>
              <a:ext uri="{FF2B5EF4-FFF2-40B4-BE49-F238E27FC236}">
                <a16:creationId xmlns:a16="http://schemas.microsoft.com/office/drawing/2014/main" id="{1F4E2877-3E36-46F2-9BC5-623A792D206B}"/>
              </a:ext>
            </a:extLst>
          </p:cNvPr>
          <p:cNvSpPr/>
          <p:nvPr/>
        </p:nvSpPr>
        <p:spPr bwMode="gray">
          <a:xfrm>
            <a:off x="1161597" y="4238873"/>
            <a:ext cx="1207087" cy="3499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27000" tIns="27000" rIns="27000" bIns="2700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84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Step up to challenger 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en-US" altLang="ja-JP" sz="24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84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1000 employees</a:t>
            </a:r>
          </a:p>
        </p:txBody>
      </p:sp>
      <p:sp>
        <p:nvSpPr>
          <p:cNvPr id="12" name="Rectangle 49">
            <a:extLst>
              <a:ext uri="{FF2B5EF4-FFF2-40B4-BE49-F238E27FC236}">
                <a16:creationId xmlns:a16="http://schemas.microsoft.com/office/drawing/2014/main" id="{CBD0BED6-AEDF-4DFC-9D9E-99FE402D81A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1097" y="3149079"/>
            <a:ext cx="2520000" cy="1016215"/>
          </a:xfrm>
          <a:prstGeom prst="downArrowCallout">
            <a:avLst>
              <a:gd name="adj1" fmla="val 17145"/>
              <a:gd name="adj2" fmla="val 17672"/>
              <a:gd name="adj3" fmla="val 8685"/>
              <a:gd name="adj4" fmla="val 91315"/>
            </a:avLst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27000" tIns="27000" rIns="27000" bIns="27000" numCol="1" anchor="ctr" anchorCtr="0" compatLnSpc="1">
            <a:prstTxWarp prst="textNoShape">
              <a:avLst/>
            </a:prstTxWarp>
            <a:no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880" b="1" i="0" u="none" strike="noStrike" kern="1200" cap="none" spc="100" normalizeH="0" baseline="0" noProof="0">
                <a:ln>
                  <a:noFill/>
                </a:ln>
                <a:solidFill>
                  <a:srgbClr val="037BA5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W</a:t>
            </a:r>
            <a:r>
              <a:rPr kumimoji="1" lang="ja-JP" altLang="en-US" sz="880" b="1" i="0" u="none" strike="noStrike" kern="1200" cap="none" spc="100" normalizeH="0" baseline="0" noProof="0">
                <a:ln>
                  <a:noFill/>
                </a:ln>
                <a:solidFill>
                  <a:srgbClr val="037BA5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orld</a:t>
            </a:r>
            <a:r>
              <a:rPr kumimoji="1" lang="en-US" altLang="ja-JP" sz="880" b="1" i="0" u="none" strike="noStrike" kern="1200" cap="none" spc="100" normalizeH="0" baseline="0" noProof="0">
                <a:ln>
                  <a:noFill/>
                </a:ln>
                <a:solidFill>
                  <a:srgbClr val="037BA5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-class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880" b="1" i="0" u="none" strike="noStrike" kern="1200" cap="none" normalizeH="0" baseline="0" noProof="0">
                <a:ln>
                  <a:noFill/>
                </a:ln>
                <a:solidFill>
                  <a:srgbClr val="037BA5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Entrepreneurship education</a:t>
            </a:r>
            <a:endParaRPr kumimoji="1" lang="en-US" altLang="ja-JP" sz="880" b="1" i="0" u="none" strike="noStrike" kern="1200" cap="none" normalizeH="0" baseline="0" noProof="0">
              <a:ln>
                <a:noFill/>
              </a:ln>
              <a:solidFill>
                <a:srgbClr val="037BA5"/>
              </a:solidFill>
              <a:effectLst/>
              <a:uLnTx/>
              <a:uFillTx/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en-US" altLang="ja-JP" sz="800" b="1" i="0" u="none" strike="noStrike" kern="1200" cap="none" spc="0" normalizeH="0" baseline="0" noProof="0">
              <a:ln>
                <a:noFill/>
              </a:ln>
              <a:solidFill>
                <a:srgbClr val="02526E"/>
              </a:solidFill>
              <a:effectLst/>
              <a:uLnTx/>
              <a:uFillTx/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  <a:p>
            <a:pPr algn="ctr"/>
            <a:r>
              <a:rPr lang="en-US" altLang="ja-JP" sz="720">
                <a:latin typeface="游ゴシック" panose="020B0400000000000000" pitchFamily="50" charset="-128"/>
                <a:ea typeface="游ゴシック" panose="020B0400000000000000" pitchFamily="50" charset="-128"/>
              </a:rPr>
              <a:t>Classes by Associate Professor Yasuhiro </a:t>
            </a:r>
            <a:r>
              <a:rPr lang="en-US" altLang="ja-JP" sz="720" err="1">
                <a:latin typeface="游ゴシック" panose="020B0400000000000000" pitchFamily="50" charset="-128"/>
                <a:ea typeface="游ゴシック" panose="020B0400000000000000" pitchFamily="50" charset="-128"/>
              </a:rPr>
              <a:t>Yamakawa</a:t>
            </a:r>
            <a:r>
              <a:rPr lang="en-US" altLang="ja-JP" sz="720">
                <a:latin typeface="游ゴシック" panose="020B0400000000000000" pitchFamily="50" charset="-128"/>
                <a:ea typeface="游ゴシック" panose="020B0400000000000000" pitchFamily="50" charset="-128"/>
              </a:rPr>
              <a:t> of Babson College, which is ranked No.1 for entrepreneurship education</a:t>
            </a:r>
          </a:p>
        </p:txBody>
      </p:sp>
      <p:sp>
        <p:nvSpPr>
          <p:cNvPr id="13" name="Rectangle 49">
            <a:extLst>
              <a:ext uri="{FF2B5EF4-FFF2-40B4-BE49-F238E27FC236}">
                <a16:creationId xmlns:a16="http://schemas.microsoft.com/office/drawing/2014/main" id="{9C61071D-3051-433D-8637-182948EC667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19835" y="3874167"/>
            <a:ext cx="2512165" cy="890352"/>
          </a:xfrm>
          <a:prstGeom prst="rect">
            <a:avLst/>
          </a:prstGeom>
          <a:solidFill>
            <a:srgbClr val="FC466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vert="horz" wrap="square" lIns="27000" tIns="27000" rIns="27000" bIns="27000" numCol="1" anchor="ctr" anchorCtr="0" compatLnSpc="1">
            <a:prstTxWarp prst="textNoShape">
              <a:avLst/>
            </a:prstTxWarp>
            <a:no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en-US" altLang="ja-JP" sz="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14" name="正方形/長方形 13">
            <a:extLst>
              <a:ext uri="{FF2B5EF4-FFF2-40B4-BE49-F238E27FC236}">
                <a16:creationId xmlns:a16="http://schemas.microsoft.com/office/drawing/2014/main" id="{74336CF4-0275-4E03-BDAA-0988D0E5683D}"/>
              </a:ext>
            </a:extLst>
          </p:cNvPr>
          <p:cNvSpPr/>
          <p:nvPr/>
        </p:nvSpPr>
        <p:spPr bwMode="gray">
          <a:xfrm>
            <a:off x="3932144" y="4166684"/>
            <a:ext cx="1287237" cy="3869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27000" tIns="27000" rIns="27000" bIns="2700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84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Step up to Intrapreneur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en-US" altLang="ja-JP" sz="48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84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300 people</a:t>
            </a:r>
          </a:p>
        </p:txBody>
      </p:sp>
      <p:sp>
        <p:nvSpPr>
          <p:cNvPr id="16" name="Rectangle 49">
            <a:extLst>
              <a:ext uri="{FF2B5EF4-FFF2-40B4-BE49-F238E27FC236}">
                <a16:creationId xmlns:a16="http://schemas.microsoft.com/office/drawing/2014/main" id="{C79BBA80-5ED2-477F-A564-7F797C9F6E7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12000" y="2703943"/>
            <a:ext cx="2520000" cy="1321783"/>
          </a:xfrm>
          <a:prstGeom prst="downArrowCallout">
            <a:avLst>
              <a:gd name="adj1" fmla="val 14606"/>
              <a:gd name="adj2" fmla="val 13212"/>
              <a:gd name="adj3" fmla="val 5886"/>
              <a:gd name="adj4" fmla="val 94114"/>
            </a:avLst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880" b="1" i="0" u="none" strike="noStrike" kern="1200" cap="none" spc="100" normalizeH="0" baseline="0" noProof="0">
                <a:ln>
                  <a:noFill/>
                </a:ln>
                <a:solidFill>
                  <a:srgbClr val="FC2C4F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O</a:t>
            </a:r>
            <a:r>
              <a:rPr kumimoji="1" lang="ja-JP" altLang="en-US" sz="880" b="1" i="0" u="none" strike="noStrike" kern="1200" cap="none" spc="100" normalizeH="0" baseline="0" noProof="0">
                <a:ln>
                  <a:noFill/>
                </a:ln>
                <a:solidFill>
                  <a:srgbClr val="FC2C4F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pportunities for business creation</a:t>
            </a:r>
            <a:endParaRPr kumimoji="1" lang="en-US" altLang="ja-JP" sz="880" b="1" i="0" u="none" strike="noStrike" kern="1200" cap="none" spc="100" normalizeH="0" baseline="0" noProof="0">
              <a:ln>
                <a:noFill/>
              </a:ln>
              <a:solidFill>
                <a:srgbClr val="FC2C4F"/>
              </a:solidFill>
              <a:effectLst/>
              <a:uLnTx/>
              <a:uFillTx/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880" b="1" i="0" u="none" strike="noStrike" kern="1200" cap="none" spc="100" normalizeH="0" baseline="0" noProof="0">
                <a:ln>
                  <a:noFill/>
                </a:ln>
                <a:solidFill>
                  <a:srgbClr val="FC2C4F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learning through practice</a:t>
            </a:r>
            <a:endParaRPr kumimoji="1" lang="en-US" altLang="ja-JP" sz="880" b="1" i="0" u="none" strike="noStrike" kern="1200" cap="none" spc="100" normalizeH="0" baseline="0" noProof="0">
              <a:ln>
                <a:noFill/>
              </a:ln>
              <a:solidFill>
                <a:srgbClr val="FC2C4F"/>
              </a:solidFill>
              <a:effectLst/>
              <a:uLnTx/>
              <a:uFillTx/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br>
              <a:rPr kumimoji="1" lang="en-US" altLang="ja-JP" sz="900" b="0" i="0" u="none" strike="noStrike" kern="1200" cap="none" spc="0" normalizeH="0" baseline="0" noProof="0">
                <a:ln>
                  <a:noFill/>
                </a:ln>
                <a:solidFill>
                  <a:srgbClr val="A5A5A5">
                    <a:lumMod val="50000"/>
                  </a:srgbClr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</a:br>
            <a:r>
              <a:rPr kumimoji="1" lang="en-US" altLang="ja-JP" sz="720">
                <a:solidFill>
                  <a:srgbClr val="A5A5A5">
                    <a:lumMod val="50000"/>
                  </a:srgb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Full-time job for</a:t>
            </a:r>
            <a:r>
              <a:rPr kumimoji="1" lang="ja-JP" altLang="en-US" sz="720">
                <a:solidFill>
                  <a:srgbClr val="A5A5A5">
                    <a:lumMod val="50000"/>
                  </a:srgb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 new business creation (6 months)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720">
                <a:solidFill>
                  <a:srgbClr val="A5A5A5">
                    <a:lumMod val="50000"/>
                  </a:srgb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Mentoring by external </a:t>
            </a:r>
            <a:r>
              <a:rPr kumimoji="1" lang="ja-JP" altLang="en-US" sz="720" b="0" i="0" u="none" strike="noStrike" kern="1200" cap="none" spc="0" normalizeH="0" baseline="0" noProof="0">
                <a:ln>
                  <a:noFill/>
                </a:ln>
                <a:solidFill>
                  <a:srgbClr val="A5A5A5">
                    <a:lumMod val="50000"/>
                  </a:srgbClr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experts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720" b="0" i="0" u="none" strike="noStrike" kern="1200" cap="none" spc="0" normalizeH="0" baseline="0" noProof="0">
                <a:ln>
                  <a:noFill/>
                </a:ln>
                <a:solidFill>
                  <a:srgbClr val="A5A5A5">
                    <a:lumMod val="50000"/>
                  </a:srgbClr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Initial investment in developing MVPs</a:t>
            </a:r>
          </a:p>
        </p:txBody>
      </p:sp>
      <p:sp>
        <p:nvSpPr>
          <p:cNvPr id="17" name="Rectangle 49">
            <a:extLst>
              <a:ext uri="{FF2B5EF4-FFF2-40B4-BE49-F238E27FC236}">
                <a16:creationId xmlns:a16="http://schemas.microsoft.com/office/drawing/2014/main" id="{B0609211-9923-4F08-8965-213F94E5E1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05236" y="3705725"/>
            <a:ext cx="2520000" cy="1058794"/>
          </a:xfrm>
          <a:prstGeom prst="rect">
            <a:avLst/>
          </a:prstGeom>
          <a:solidFill>
            <a:srgbClr val="637AB5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vert="horz" wrap="square" lIns="27000" tIns="27000" rIns="27000" bIns="27000" numCol="1" anchor="ctr" anchorCtr="0" compatLnSpc="1">
            <a:prstTxWarp prst="textNoShape">
              <a:avLst/>
            </a:prstTxWarp>
            <a:no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en-US" altLang="ja-JP" sz="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18" name="正方形/長方形 17">
            <a:extLst>
              <a:ext uri="{FF2B5EF4-FFF2-40B4-BE49-F238E27FC236}">
                <a16:creationId xmlns:a16="http://schemas.microsoft.com/office/drawing/2014/main" id="{1528F139-AD55-48B4-AB48-0E04FE97213A}"/>
              </a:ext>
            </a:extLst>
          </p:cNvPr>
          <p:cNvSpPr/>
          <p:nvPr/>
        </p:nvSpPr>
        <p:spPr bwMode="gray">
          <a:xfrm>
            <a:off x="6602848" y="4045527"/>
            <a:ext cx="1508452" cy="3869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27000" tIns="27000" rIns="27000" bIns="2700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84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Step up to</a:t>
            </a:r>
            <a:r>
              <a:rPr kumimoji="1" lang="ja-JP" altLang="en-US" sz="84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 innovators</a:t>
            </a:r>
            <a:endParaRPr kumimoji="1" lang="en-US" altLang="ja-JP" sz="84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en-US" altLang="ja-JP" sz="48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840" b="1">
                <a:solidFill>
                  <a:prstClr val="white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10 </a:t>
            </a:r>
            <a:r>
              <a:rPr kumimoji="1" lang="en-US" altLang="ja-JP" sz="840" b="1" err="1">
                <a:solidFill>
                  <a:prstClr val="white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i</a:t>
            </a:r>
            <a:r>
              <a:rPr kumimoji="1" lang="ja-JP" altLang="en-US" sz="840" b="1">
                <a:solidFill>
                  <a:prstClr val="white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nnovati</a:t>
            </a:r>
            <a:r>
              <a:rPr kumimoji="1" lang="en-US" altLang="ja-JP" sz="840" b="1" err="1">
                <a:solidFill>
                  <a:prstClr val="white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ve</a:t>
            </a:r>
            <a:r>
              <a:rPr kumimoji="1" lang="en-US" altLang="ja-JP" sz="840" b="1">
                <a:solidFill>
                  <a:prstClr val="white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 new b</a:t>
            </a:r>
            <a:r>
              <a:rPr kumimoji="1" lang="ja-JP" altLang="en-US" sz="840" b="1">
                <a:solidFill>
                  <a:prstClr val="white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usiness</a:t>
            </a:r>
            <a:endParaRPr kumimoji="1" lang="ja-JP" altLang="en-US" sz="84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20" name="Rectangle 49">
            <a:extLst>
              <a:ext uri="{FF2B5EF4-FFF2-40B4-BE49-F238E27FC236}">
                <a16:creationId xmlns:a16="http://schemas.microsoft.com/office/drawing/2014/main" id="{F64C9D2F-DD3C-4E24-AF2D-DA2C7A7DDA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05236" y="2305305"/>
            <a:ext cx="2520000" cy="1488652"/>
          </a:xfrm>
          <a:prstGeom prst="downArrowCallout">
            <a:avLst>
              <a:gd name="adj1" fmla="val 10649"/>
              <a:gd name="adj2" fmla="val 10933"/>
              <a:gd name="adj3" fmla="val 5262"/>
              <a:gd name="adj4" fmla="val 94738"/>
            </a:avLst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880" b="1" i="0" u="none" strike="noStrike" kern="1200" cap="none" spc="100" normalizeH="0" baseline="0" noProof="0">
                <a:ln>
                  <a:noFill/>
                </a:ln>
                <a:solidFill>
                  <a:srgbClr val="5B76B1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Investment and support</a:t>
            </a:r>
            <a:endParaRPr kumimoji="1" lang="en-US" altLang="ja-JP" sz="880" b="1" i="0" u="none" strike="noStrike" kern="1200" cap="none" spc="100" normalizeH="0" baseline="0" noProof="0">
              <a:ln>
                <a:noFill/>
              </a:ln>
              <a:solidFill>
                <a:srgbClr val="5B76B1"/>
              </a:solidFill>
              <a:effectLst/>
              <a:uLnTx/>
              <a:uFillTx/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880" b="1" spc="100">
                <a:solidFill>
                  <a:srgbClr val="5B76B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to</a:t>
            </a:r>
            <a:r>
              <a:rPr kumimoji="1" lang="ja-JP" altLang="en-US" sz="880" b="1" spc="100">
                <a:solidFill>
                  <a:srgbClr val="5B76B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 </a:t>
            </a:r>
            <a:r>
              <a:rPr kumimoji="1" lang="en-US" altLang="ja-JP" sz="880" b="1" spc="100">
                <a:solidFill>
                  <a:srgbClr val="5B76B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launch new business</a:t>
            </a:r>
            <a:endParaRPr kumimoji="1" lang="en-US" altLang="ja-JP" sz="880" b="1" i="0" u="none" strike="noStrike" kern="1200" cap="none" spc="100" normalizeH="0" baseline="0" noProof="0">
              <a:ln>
                <a:noFill/>
              </a:ln>
              <a:solidFill>
                <a:srgbClr val="5B76B1"/>
              </a:solidFill>
              <a:effectLst/>
              <a:uLnTx/>
              <a:uFillTx/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br>
              <a:rPr kumimoji="1" lang="en-US" altLang="ja-JP" sz="1000" b="0" i="0" u="none" strike="noStrike" kern="1200" cap="none" spc="0" normalizeH="0" baseline="0" noProof="0">
                <a:ln>
                  <a:noFill/>
                </a:ln>
                <a:solidFill>
                  <a:srgbClr val="A5A5A5">
                    <a:lumMod val="50000"/>
                  </a:srgbClr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</a:br>
            <a:r>
              <a:rPr kumimoji="1" lang="ja-JP" altLang="en-US" sz="720" b="0" i="0" u="none" strike="noStrike" kern="1200" cap="none" spc="0" normalizeH="0" baseline="0" noProof="0">
                <a:ln>
                  <a:noFill/>
                </a:ln>
                <a:solidFill>
                  <a:srgbClr val="A5A5A5">
                    <a:lumMod val="50000"/>
                  </a:srgbClr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Large-Scale investment for business growth</a:t>
            </a:r>
            <a:br>
              <a:rPr kumimoji="1" lang="ja-JP" altLang="en-US" sz="900" b="0" i="0" u="none" strike="noStrike" kern="1200" cap="none" spc="0" normalizeH="0" baseline="0" noProof="0">
                <a:ln>
                  <a:noFill/>
                </a:ln>
                <a:solidFill>
                  <a:srgbClr val="A5A5A5">
                    <a:lumMod val="50000"/>
                  </a:srgbClr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</a:br>
            <a:r>
              <a:rPr kumimoji="1" lang="ja-JP" altLang="en-US" sz="720" b="0" i="0" u="none" strike="noStrike" kern="1200" cap="none" spc="0" normalizeH="0" baseline="0" noProof="0">
                <a:ln>
                  <a:noFill/>
                </a:ln>
                <a:solidFill>
                  <a:srgbClr val="A5A5A5">
                    <a:lumMod val="50000"/>
                  </a:srgbClr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Support for commercialization</a:t>
            </a:r>
          </a:p>
        </p:txBody>
      </p:sp>
      <p:sp>
        <p:nvSpPr>
          <p:cNvPr id="23" name="正方形/長方形 22">
            <a:extLst>
              <a:ext uri="{FF2B5EF4-FFF2-40B4-BE49-F238E27FC236}">
                <a16:creationId xmlns:a16="http://schemas.microsoft.com/office/drawing/2014/main" id="{82A4747D-56CB-45F6-8D2B-CFA7FE7E3FFC}"/>
              </a:ext>
            </a:extLst>
          </p:cNvPr>
          <p:cNvSpPr/>
          <p:nvPr/>
        </p:nvSpPr>
        <p:spPr bwMode="gray">
          <a:xfrm>
            <a:off x="1442972" y="2776330"/>
            <a:ext cx="624367" cy="189314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600" spc="200">
                <a:solidFill>
                  <a:prstClr val="white"/>
                </a:solidFill>
                <a:latin typeface="Calibri" panose="020F0502020204030204" pitchFamily="34" charset="0"/>
                <a:ea typeface="游ゴシック" panose="020B0400000000000000" pitchFamily="50" charset="-128"/>
                <a:cs typeface="Calibri" panose="020F0502020204030204" pitchFamily="34" charset="0"/>
              </a:rPr>
              <a:t>A</a:t>
            </a:r>
            <a:r>
              <a:rPr kumimoji="1" lang="en-US" altLang="ja-JP" sz="1600" b="0" i="0" u="none" strike="noStrike" kern="1200" cap="none" spc="20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游ゴシック" panose="020B0400000000000000" pitchFamily="50" charset="-128"/>
                <a:cs typeface="Calibri" panose="020F0502020204030204" pitchFamily="34" charset="0"/>
              </a:rPr>
              <a:t>cademy</a:t>
            </a:r>
            <a:endParaRPr kumimoji="1" lang="ja-JP" altLang="en-US" sz="2560" b="0" i="0" u="none" strike="noStrike" kern="1200" cap="none" spc="20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游ゴシック" panose="020B0400000000000000" pitchFamily="50" charset="-128"/>
              <a:cs typeface="Calibri" panose="020F0502020204030204" pitchFamily="34" charset="0"/>
            </a:endParaRPr>
          </a:p>
        </p:txBody>
      </p:sp>
      <p:sp>
        <p:nvSpPr>
          <p:cNvPr id="24" name="正方形/長方形 23">
            <a:extLst>
              <a:ext uri="{FF2B5EF4-FFF2-40B4-BE49-F238E27FC236}">
                <a16:creationId xmlns:a16="http://schemas.microsoft.com/office/drawing/2014/main" id="{711934F8-9D8A-4490-91EE-AA67B340BAD0}"/>
              </a:ext>
            </a:extLst>
          </p:cNvPr>
          <p:cNvSpPr/>
          <p:nvPr/>
        </p:nvSpPr>
        <p:spPr bwMode="gray">
          <a:xfrm>
            <a:off x="4253594" y="2336748"/>
            <a:ext cx="644335" cy="195704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600" b="0" i="0" u="none" strike="noStrike" kern="1200" cap="none" spc="20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游ゴシック" panose="020B0400000000000000" pitchFamily="50" charset="-128"/>
                <a:cs typeface="Calibri" panose="020F0502020204030204" pitchFamily="34" charset="0"/>
              </a:rPr>
              <a:t>Challenge</a:t>
            </a:r>
            <a:endParaRPr kumimoji="1" lang="ja-JP" altLang="en-US" sz="1600" b="0" i="0" u="none" strike="noStrike" kern="1200" cap="none" spc="20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游ゴシック" panose="020B0400000000000000" pitchFamily="50" charset="-128"/>
              <a:cs typeface="Calibri" panose="020F0502020204030204" pitchFamily="34" charset="0"/>
            </a:endParaRPr>
          </a:p>
        </p:txBody>
      </p:sp>
      <p:sp>
        <p:nvSpPr>
          <p:cNvPr id="25" name="正方形/長方形 24">
            <a:extLst>
              <a:ext uri="{FF2B5EF4-FFF2-40B4-BE49-F238E27FC236}">
                <a16:creationId xmlns:a16="http://schemas.microsoft.com/office/drawing/2014/main" id="{8F14D801-8CCB-4B7E-AC8D-F6135154C42A}"/>
              </a:ext>
            </a:extLst>
          </p:cNvPr>
          <p:cNvSpPr/>
          <p:nvPr/>
        </p:nvSpPr>
        <p:spPr bwMode="gray">
          <a:xfrm>
            <a:off x="7034905" y="1937973"/>
            <a:ext cx="644335" cy="195704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600" b="0" i="0" u="none" strike="noStrike" kern="1200" cap="none" spc="20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游ゴシック" panose="020B0400000000000000" pitchFamily="50" charset="-128"/>
                <a:cs typeface="Calibri" panose="020F0502020204030204" pitchFamily="34" charset="0"/>
              </a:rPr>
              <a:t>Growth</a:t>
            </a:r>
            <a:endParaRPr kumimoji="1" lang="ja-JP" altLang="en-US" sz="1600" b="0" i="0" u="none" strike="noStrike" kern="1200" cap="none" spc="20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游ゴシック" panose="020B0400000000000000" pitchFamily="50" charset="-128"/>
              <a:cs typeface="Calibri" panose="020F0502020204030204" pitchFamily="34" charset="0"/>
            </a:endParaRPr>
          </a:p>
        </p:txBody>
      </p:sp>
      <p:pic>
        <p:nvPicPr>
          <p:cNvPr id="35" name="グラフィックス 15">
            <a:extLst>
              <a:ext uri="{FF2B5EF4-FFF2-40B4-BE49-F238E27FC236}">
                <a16:creationId xmlns:a16="http://schemas.microsoft.com/office/drawing/2014/main" id="{104CE727-95FF-4C44-994A-58B9AB90BD3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15245" y="169097"/>
            <a:ext cx="956849" cy="906752"/>
          </a:xfrm>
          <a:prstGeom prst="rect">
            <a:avLst/>
          </a:prstGeom>
        </p:spPr>
      </p:pic>
      <p:pic>
        <p:nvPicPr>
          <p:cNvPr id="36" name="グラフィックス 35">
            <a:extLst>
              <a:ext uri="{FF2B5EF4-FFF2-40B4-BE49-F238E27FC236}">
                <a16:creationId xmlns:a16="http://schemas.microsoft.com/office/drawing/2014/main" id="{B99F599F-C6E5-4084-BBA8-9CE00C32BFA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442160" y="423791"/>
            <a:ext cx="5309275" cy="375617"/>
          </a:xfrm>
          <a:prstGeom prst="rect">
            <a:avLst/>
          </a:prstGeom>
        </p:spPr>
      </p:pic>
      <p:sp>
        <p:nvSpPr>
          <p:cNvPr id="39" name="テキスト ボックス 38">
            <a:extLst>
              <a:ext uri="{FF2B5EF4-FFF2-40B4-BE49-F238E27FC236}">
                <a16:creationId xmlns:a16="http://schemas.microsoft.com/office/drawing/2014/main" id="{54A0964A-D19C-4C17-A2B0-2E8E4EEABEF9}"/>
              </a:ext>
            </a:extLst>
          </p:cNvPr>
          <p:cNvSpPr txBox="1"/>
          <p:nvPr/>
        </p:nvSpPr>
        <p:spPr>
          <a:xfrm>
            <a:off x="478911" y="1468539"/>
            <a:ext cx="2520000" cy="30777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kumimoji="1" lang="en-US" altLang="ja-JP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Yu Gothic UI"/>
                <a:ea typeface="Yu Gothic UI"/>
              </a:rPr>
              <a:t>FIC 1st S</a:t>
            </a:r>
            <a:r>
              <a:rPr kumimoji="1" lang="ja-JP" altLang="en-US" sz="1400">
                <a:solidFill>
                  <a:schemeClr val="tx1">
                    <a:lumMod val="50000"/>
                    <a:lumOff val="50000"/>
                  </a:schemeClr>
                </a:solidFill>
                <a:latin typeface="Yu Gothic UI"/>
                <a:ea typeface="Yu Gothic UI"/>
              </a:rPr>
              <a:t>tage of three </a:t>
            </a:r>
            <a:endParaRPr kumimoji="1" lang="ja-JP" altLang="en-US">
              <a:solidFill>
                <a:schemeClr val="tx1">
                  <a:lumMod val="50000"/>
                  <a:lumOff val="50000"/>
                </a:schemeClr>
              </a:solidFill>
              <a:latin typeface="Yu Gothic UI" panose="020B0500000000000000" pitchFamily="50" charset="-128"/>
              <a:ea typeface="Yu Gothic UI" panose="020B0500000000000000" pitchFamily="50" charset="-128"/>
            </a:endParaRPr>
          </a:p>
        </p:txBody>
      </p:sp>
      <p:sp>
        <p:nvSpPr>
          <p:cNvPr id="30" name="スライド番号プレースホルダー 29">
            <a:extLst>
              <a:ext uri="{FF2B5EF4-FFF2-40B4-BE49-F238E27FC236}">
                <a16:creationId xmlns:a16="http://schemas.microsoft.com/office/drawing/2014/main" id="{05AC612D-B901-40A0-8AE8-24EA31DB99B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B5B02AC-72C7-48A8-B1FA-68CE81373FC9}" type="slidenum">
              <a:rPr lang="en-US" altLang="ja-JP" smtClean="0"/>
              <a:pPr/>
              <a:t>2</a:t>
            </a:fld>
            <a:endParaRPr lang="ja-JP" altLang="en-US"/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042774CB-469E-4FAB-B9A1-53A855934687}"/>
              </a:ext>
            </a:extLst>
          </p:cNvPr>
          <p:cNvSpPr txBox="1"/>
          <p:nvPr/>
        </p:nvSpPr>
        <p:spPr>
          <a:xfrm>
            <a:off x="7750670" y="4721745"/>
            <a:ext cx="139333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kumimoji="1" lang="en-US" altLang="ja-JP" sz="800"/>
              <a:t>*in the next three years</a:t>
            </a:r>
          </a:p>
        </p:txBody>
      </p:sp>
      <p:sp>
        <p:nvSpPr>
          <p:cNvPr id="27" name="正方形/長方形 26">
            <a:extLst>
              <a:ext uri="{FF2B5EF4-FFF2-40B4-BE49-F238E27FC236}">
                <a16:creationId xmlns:a16="http://schemas.microsoft.com/office/drawing/2014/main" id="{27731D6F-C1E7-4821-A6E2-4801090EBADC}"/>
              </a:ext>
            </a:extLst>
          </p:cNvPr>
          <p:cNvSpPr/>
          <p:nvPr/>
        </p:nvSpPr>
        <p:spPr>
          <a:xfrm>
            <a:off x="521097" y="2651960"/>
            <a:ext cx="2517667" cy="2111381"/>
          </a:xfrm>
          <a:prstGeom prst="rect">
            <a:avLst/>
          </a:prstGeom>
          <a:noFill/>
          <a:ln w="76200">
            <a:solidFill>
              <a:srgbClr val="2C96A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 dirty="0" err="1">
              <a:solidFill>
                <a:schemeClr val="tx1"/>
              </a:solidFill>
            </a:endParaRPr>
          </a:p>
        </p:txBody>
      </p:sp>
      <p:sp>
        <p:nvSpPr>
          <p:cNvPr id="28" name="正方形/長方形 27">
            <a:extLst>
              <a:ext uri="{FF2B5EF4-FFF2-40B4-BE49-F238E27FC236}">
                <a16:creationId xmlns:a16="http://schemas.microsoft.com/office/drawing/2014/main" id="{F02982B9-F7EC-4E19-98D4-F3EA8DAA711D}"/>
              </a:ext>
            </a:extLst>
          </p:cNvPr>
          <p:cNvSpPr/>
          <p:nvPr/>
        </p:nvSpPr>
        <p:spPr>
          <a:xfrm>
            <a:off x="3312000" y="2216559"/>
            <a:ext cx="2520000" cy="2546782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 dirty="0" err="1">
              <a:solidFill>
                <a:schemeClr val="tx1"/>
              </a:solidFill>
            </a:endParaRPr>
          </a:p>
        </p:txBody>
      </p:sp>
      <p:sp>
        <p:nvSpPr>
          <p:cNvPr id="29" name="正方形/長方形 28">
            <a:extLst>
              <a:ext uri="{FF2B5EF4-FFF2-40B4-BE49-F238E27FC236}">
                <a16:creationId xmlns:a16="http://schemas.microsoft.com/office/drawing/2014/main" id="{EB7DE858-C425-49D0-8212-F623FE87A277}"/>
              </a:ext>
            </a:extLst>
          </p:cNvPr>
          <p:cNvSpPr/>
          <p:nvPr/>
        </p:nvSpPr>
        <p:spPr>
          <a:xfrm>
            <a:off x="6109294" y="1807609"/>
            <a:ext cx="2520000" cy="2955731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 dirty="0" err="1">
              <a:solidFill>
                <a:schemeClr val="tx1"/>
              </a:solidFill>
            </a:endParaRPr>
          </a:p>
        </p:txBody>
      </p:sp>
      <p:sp>
        <p:nvSpPr>
          <p:cNvPr id="31" name="矢印: 下 30">
            <a:extLst>
              <a:ext uri="{FF2B5EF4-FFF2-40B4-BE49-F238E27FC236}">
                <a16:creationId xmlns:a16="http://schemas.microsoft.com/office/drawing/2014/main" id="{7FC1892D-4F18-4268-98D0-5B7648714FCE}"/>
              </a:ext>
            </a:extLst>
          </p:cNvPr>
          <p:cNvSpPr/>
          <p:nvPr/>
        </p:nvSpPr>
        <p:spPr>
          <a:xfrm>
            <a:off x="1398930" y="2027654"/>
            <a:ext cx="762000" cy="456777"/>
          </a:xfrm>
          <a:prstGeom prst="down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362484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グラフィックス 15">
            <a:extLst>
              <a:ext uri="{FF2B5EF4-FFF2-40B4-BE49-F238E27FC236}">
                <a16:creationId xmlns:a16="http://schemas.microsoft.com/office/drawing/2014/main" id="{1AAB16B3-FED5-4284-AE28-6E02227FE8A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15246" y="169097"/>
            <a:ext cx="577864" cy="547609"/>
          </a:xfrm>
          <a:prstGeom prst="rect">
            <a:avLst/>
          </a:prstGeom>
        </p:spPr>
      </p:pic>
      <p:pic>
        <p:nvPicPr>
          <p:cNvPr id="27" name="グラフィックス 26">
            <a:extLst>
              <a:ext uri="{FF2B5EF4-FFF2-40B4-BE49-F238E27FC236}">
                <a16:creationId xmlns:a16="http://schemas.microsoft.com/office/drawing/2014/main" id="{74D0E273-DB09-4D58-82BB-B97AC21C6CE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99278" y="169097"/>
            <a:ext cx="1809928" cy="128048"/>
          </a:xfrm>
          <a:prstGeom prst="rect">
            <a:avLst/>
          </a:prstGeom>
        </p:spPr>
      </p:pic>
      <p:sp>
        <p:nvSpPr>
          <p:cNvPr id="29" name="正方形/長方形 28">
            <a:extLst>
              <a:ext uri="{FF2B5EF4-FFF2-40B4-BE49-F238E27FC236}">
                <a16:creationId xmlns:a16="http://schemas.microsoft.com/office/drawing/2014/main" id="{84D2760C-90B1-4A7D-8C98-1B83CECA8CD5}"/>
              </a:ext>
            </a:extLst>
          </p:cNvPr>
          <p:cNvSpPr/>
          <p:nvPr/>
        </p:nvSpPr>
        <p:spPr bwMode="gray">
          <a:xfrm>
            <a:off x="1351833" y="281362"/>
            <a:ext cx="2224422" cy="461458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2880" i="0" u="none" strike="noStrike" kern="1200" cap="none" normalizeH="0" baseline="0" noProof="0" dirty="0">
                <a:ln>
                  <a:noFill/>
                </a:ln>
                <a:solidFill>
                  <a:srgbClr val="2C96A4"/>
                </a:solidFill>
                <a:effectLst/>
                <a:uLnTx/>
                <a:uFillTx/>
                <a:latin typeface="Calibri" panose="020F0502020204030204" pitchFamily="34" charset="0"/>
                <a:ea typeface="游ゴシック" panose="020B0400000000000000" pitchFamily="50" charset="-128"/>
                <a:cs typeface="+mn-cs"/>
              </a:rPr>
              <a:t>Academy Stage</a:t>
            </a:r>
            <a:endParaRPr kumimoji="1" lang="ja-JP" altLang="en-US" sz="3840" i="0" u="none" strike="noStrike" kern="1200" cap="none" normalizeH="0" baseline="0" noProof="0" dirty="0">
              <a:ln>
                <a:noFill/>
              </a:ln>
              <a:solidFill>
                <a:srgbClr val="2C96A4"/>
              </a:solidFill>
              <a:effectLst/>
              <a:uLnTx/>
              <a:uFillTx/>
              <a:latin typeface="Calibri" panose="020F0502020204030204" pitchFamily="34" charset="0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32" name="テキスト ボックス 31">
            <a:extLst>
              <a:ext uri="{FF2B5EF4-FFF2-40B4-BE49-F238E27FC236}">
                <a16:creationId xmlns:a16="http://schemas.microsoft.com/office/drawing/2014/main" id="{CF6F4668-2378-4BFC-9842-2D71A8B47BF7}"/>
              </a:ext>
            </a:extLst>
          </p:cNvPr>
          <p:cNvSpPr txBox="1"/>
          <p:nvPr/>
        </p:nvSpPr>
        <p:spPr>
          <a:xfrm>
            <a:off x="625815" y="1137334"/>
            <a:ext cx="7376168" cy="5878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66065" indent="-266065">
              <a:spcAft>
                <a:spcPts val="600"/>
              </a:spcAft>
            </a:pPr>
            <a:r>
              <a:rPr lang="ja-JP" altLang="en-US" sz="1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Yu Gothic UI Semibold" panose="020B0700000000000000" pitchFamily="50" charset="-128"/>
                <a:ea typeface="Yu Gothic UI Semibold" panose="020B0700000000000000" pitchFamily="50" charset="-128"/>
              </a:rPr>
              <a:t>St</a:t>
            </a:r>
            <a:r>
              <a:rPr lang="en-US" altLang="ja-JP" sz="1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Yu Gothic UI Semibold" panose="020B0700000000000000" pitchFamily="50" charset="-128"/>
                <a:ea typeface="Yu Gothic UI Semibold" panose="020B0700000000000000" pitchFamily="50" charset="-128"/>
              </a:rPr>
              <a:t>ep</a:t>
            </a:r>
            <a:r>
              <a:rPr lang="ja-JP" altLang="en-US" sz="1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Yu Gothic UI Semibold" panose="020B0700000000000000" pitchFamily="50" charset="-128"/>
                <a:ea typeface="Yu Gothic UI Semibold" panose="020B0700000000000000" pitchFamily="50" charset="-128"/>
              </a:rPr>
              <a:t> </a:t>
            </a:r>
            <a:r>
              <a:rPr lang="en-US" altLang="ja-JP" sz="1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Yu Gothic UI Semibold" panose="020B0700000000000000" pitchFamily="50" charset="-128"/>
                <a:ea typeface="Yu Gothic UI Semibold" panose="020B0700000000000000" pitchFamily="50" charset="-128"/>
              </a:rPr>
              <a:t>up to</a:t>
            </a:r>
            <a:r>
              <a:rPr lang="ja-JP" altLang="en-US" sz="1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Yu Gothic UI Semibold" panose="020B0700000000000000" pitchFamily="50" charset="-128"/>
                <a:ea typeface="Yu Gothic UI Semibold" panose="020B0700000000000000" pitchFamily="50" charset="-128"/>
              </a:rPr>
              <a:t> challenge</a:t>
            </a:r>
            <a:r>
              <a:rPr lang="en-US" altLang="ja-JP" sz="1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Yu Gothic UI Semibold" panose="020B0700000000000000" pitchFamily="50" charset="-128"/>
                <a:ea typeface="Yu Gothic UI Semibold" panose="020B0700000000000000" pitchFamily="50" charset="-128"/>
              </a:rPr>
              <a:t>r</a:t>
            </a:r>
          </a:p>
          <a:p>
            <a:pPr marL="266065" indent="-266065">
              <a:spcAft>
                <a:spcPts val="600"/>
              </a:spcAft>
            </a:pPr>
            <a:r>
              <a:rPr lang="ja-JP" altLang="en-US" sz="1120" dirty="0">
                <a:solidFill>
                  <a:schemeClr val="tx1">
                    <a:lumMod val="50000"/>
                    <a:lumOff val="50000"/>
                  </a:schemeClr>
                </a:solidFill>
                <a:latin typeface="Yu Gothic UI Semilight" panose="020B0400000000000000" pitchFamily="50" charset="-128"/>
                <a:ea typeface="Yu Gothic UI Semilight" panose="020B0400000000000000" pitchFamily="50" charset="-128"/>
              </a:rPr>
              <a:t>Develop entrepreneurial skill </a:t>
            </a:r>
            <a:r>
              <a:rPr lang="en-US" altLang="ja-JP" sz="1120" dirty="0">
                <a:solidFill>
                  <a:schemeClr val="tx1">
                    <a:lumMod val="50000"/>
                    <a:lumOff val="50000"/>
                  </a:schemeClr>
                </a:solidFill>
                <a:latin typeface="Yu Gothic UI Semilight" panose="020B0400000000000000" pitchFamily="50" charset="-128"/>
                <a:ea typeface="Yu Gothic UI Semilight" panose="020B0400000000000000" pitchFamily="50" charset="-128"/>
              </a:rPr>
              <a:t>and mind-set,</a:t>
            </a:r>
            <a:r>
              <a:rPr lang="ja-JP" altLang="en-US" sz="1120" dirty="0">
                <a:solidFill>
                  <a:schemeClr val="tx1">
                    <a:lumMod val="50000"/>
                    <a:lumOff val="50000"/>
                  </a:schemeClr>
                </a:solidFill>
                <a:latin typeface="Yu Gothic UI Semilight" panose="020B0400000000000000" pitchFamily="50" charset="-128"/>
                <a:ea typeface="Yu Gothic UI Semilight" panose="020B0400000000000000" pitchFamily="50" charset="-128"/>
              </a:rPr>
              <a:t> and discover business ideas</a:t>
            </a:r>
            <a:endParaRPr lang="ja-JP" altLang="en-US" sz="1920" dirty="0">
              <a:solidFill>
                <a:schemeClr val="tx1">
                  <a:lumMod val="50000"/>
                  <a:lumOff val="50000"/>
                </a:schemeClr>
              </a:solidFill>
              <a:latin typeface="Yu Gothic UI Semilight" panose="020B0400000000000000" pitchFamily="50" charset="-128"/>
              <a:ea typeface="Yu Gothic UI Semilight" panose="020B0400000000000000" pitchFamily="50" charset="-128"/>
            </a:endParaRPr>
          </a:p>
        </p:txBody>
      </p:sp>
      <p:sp>
        <p:nvSpPr>
          <p:cNvPr id="17" name="正方形/長方形 16">
            <a:extLst>
              <a:ext uri="{FF2B5EF4-FFF2-40B4-BE49-F238E27FC236}">
                <a16:creationId xmlns:a16="http://schemas.microsoft.com/office/drawing/2014/main" id="{28A1D6BC-86C2-4CB7-8B18-617D53927A73}"/>
              </a:ext>
            </a:extLst>
          </p:cNvPr>
          <p:cNvSpPr/>
          <p:nvPr/>
        </p:nvSpPr>
        <p:spPr>
          <a:xfrm>
            <a:off x="0" y="1857663"/>
            <a:ext cx="9144000" cy="30044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kumimoji="1" lang="ja-JP" altLang="en-US">
              <a:solidFill>
                <a:schemeClr val="tx1"/>
              </a:solidFill>
              <a:latin typeface="Yu Gothic UI" panose="020B0500000000000000" pitchFamily="50" charset="-128"/>
              <a:ea typeface="Yu Gothic UI" panose="020B0500000000000000" pitchFamily="50" charset="-128"/>
            </a:endParaRPr>
          </a:p>
        </p:txBody>
      </p:sp>
      <p:sp>
        <p:nvSpPr>
          <p:cNvPr id="18" name="テキスト ボックス 17">
            <a:extLst>
              <a:ext uri="{FF2B5EF4-FFF2-40B4-BE49-F238E27FC236}">
                <a16:creationId xmlns:a16="http://schemas.microsoft.com/office/drawing/2014/main" id="{B9894BB4-8F09-439F-9DCD-FE593957E043}"/>
              </a:ext>
            </a:extLst>
          </p:cNvPr>
          <p:cNvSpPr txBox="1"/>
          <p:nvPr/>
        </p:nvSpPr>
        <p:spPr>
          <a:xfrm>
            <a:off x="927011" y="2544745"/>
            <a:ext cx="1800000" cy="654545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52A9B4"/>
            </a:solidFill>
          </a:ln>
        </p:spPr>
        <p:txBody>
          <a:bodyPr wrap="square" anchor="ctr">
            <a:noAutofit/>
          </a:bodyPr>
          <a:lstStyle/>
          <a:p>
            <a:pPr algn="ctr">
              <a:spcAft>
                <a:spcPts val="600"/>
              </a:spcAft>
            </a:pPr>
            <a:r>
              <a:rPr kumimoji="1" lang="en-US" altLang="ja-JP" sz="960" b="1">
                <a:solidFill>
                  <a:srgbClr val="52A9B4"/>
                </a:solidFill>
                <a:latin typeface="Yu Gothic UI Semibold" panose="020B0700000000000000" pitchFamily="50" charset="-128"/>
                <a:ea typeface="Yu Gothic UI Semibold" panose="020B0700000000000000" pitchFamily="50" charset="-128"/>
              </a:rPr>
              <a:t>S</a:t>
            </a:r>
            <a:r>
              <a:rPr kumimoji="1" lang="ja-JP" altLang="en-US" sz="960" b="1">
                <a:solidFill>
                  <a:srgbClr val="52A9B4"/>
                </a:solidFill>
                <a:latin typeface="Yu Gothic UI Semibold" panose="020B0700000000000000" pitchFamily="50" charset="-128"/>
                <a:ea typeface="Yu Gothic UI Semibold" panose="020B0700000000000000" pitchFamily="50" charset="-128"/>
              </a:rPr>
              <a:t>ocial innovation</a:t>
            </a:r>
            <a:endParaRPr kumimoji="1" lang="en-US" altLang="ja-JP" sz="960" b="1">
              <a:solidFill>
                <a:srgbClr val="52A9B4"/>
              </a:solidFill>
              <a:latin typeface="Yu Gothic UI Semibold" panose="020B0700000000000000" pitchFamily="50" charset="-128"/>
              <a:ea typeface="Yu Gothic UI Semibold" panose="020B0700000000000000" pitchFamily="50" charset="-128"/>
            </a:endParaRPr>
          </a:p>
          <a:p>
            <a:pPr algn="ctr">
              <a:spcAft>
                <a:spcPts val="600"/>
              </a:spcAft>
            </a:pPr>
            <a:r>
              <a:rPr kumimoji="1" lang="en-US" altLang="ja-JP" sz="720">
                <a:solidFill>
                  <a:srgbClr val="52A9B4"/>
                </a:solidFill>
                <a:latin typeface="Yu Gothic UI Semibold" panose="020B0700000000000000" pitchFamily="50" charset="-128"/>
                <a:ea typeface="Yu Gothic UI Semibold" panose="020B0700000000000000" pitchFamily="50" charset="-128"/>
              </a:rPr>
              <a:t>Creating the future, changing the world via ET&amp;A</a:t>
            </a:r>
            <a:endParaRPr lang="ja-JP" altLang="en-US" sz="720">
              <a:solidFill>
                <a:srgbClr val="52A9B4"/>
              </a:solidFill>
              <a:latin typeface="Yu Gothic UI Semibold" panose="020B0700000000000000" pitchFamily="50" charset="-128"/>
              <a:ea typeface="Yu Gothic UI Semibold" panose="020B0700000000000000" pitchFamily="50" charset="-128"/>
            </a:endParaRPr>
          </a:p>
        </p:txBody>
      </p:sp>
      <p:sp>
        <p:nvSpPr>
          <p:cNvPr id="19" name="テキスト ボックス 18">
            <a:extLst>
              <a:ext uri="{FF2B5EF4-FFF2-40B4-BE49-F238E27FC236}">
                <a16:creationId xmlns:a16="http://schemas.microsoft.com/office/drawing/2014/main" id="{1E85A190-50A0-4377-8D37-2488FA58B15B}"/>
              </a:ext>
            </a:extLst>
          </p:cNvPr>
          <p:cNvSpPr txBox="1"/>
          <p:nvPr/>
        </p:nvSpPr>
        <p:spPr>
          <a:xfrm>
            <a:off x="2812453" y="2544745"/>
            <a:ext cx="1800000" cy="654545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52A9B4"/>
            </a:solidFill>
          </a:ln>
        </p:spPr>
        <p:txBody>
          <a:bodyPr wrap="square" anchor="t">
            <a:noAutofit/>
          </a:bodyPr>
          <a:lstStyle/>
          <a:p>
            <a:pPr algn="ctr">
              <a:spcAft>
                <a:spcPts val="600"/>
              </a:spcAft>
            </a:pPr>
            <a:r>
              <a:rPr kumimoji="1" lang="en-US" altLang="ja-JP" sz="960" b="1">
                <a:solidFill>
                  <a:srgbClr val="52A9B4"/>
                </a:solidFill>
                <a:latin typeface="Yu Gothic UI Semibold" panose="020B0700000000000000" pitchFamily="50" charset="-128"/>
                <a:ea typeface="Yu Gothic UI Semibold" panose="020B0700000000000000" pitchFamily="50" charset="-128"/>
              </a:rPr>
              <a:t>Understanding self </a:t>
            </a:r>
          </a:p>
          <a:p>
            <a:pPr algn="ctr">
              <a:spcAft>
                <a:spcPts val="600"/>
              </a:spcAft>
            </a:pPr>
            <a:r>
              <a:rPr kumimoji="1" lang="en-US" altLang="ja-JP" sz="720">
                <a:solidFill>
                  <a:srgbClr val="52A9B4"/>
                </a:solidFill>
                <a:latin typeface="Yu Gothic UI Semibold" panose="020B0700000000000000" pitchFamily="50" charset="-128"/>
                <a:ea typeface="Yu Gothic UI Semibold" panose="020B0700000000000000" pitchFamily="50" charset="-128"/>
              </a:rPr>
              <a:t>Understanding self - vision, mission, and purpose - for life and career</a:t>
            </a:r>
            <a:endParaRPr lang="ja-JP" altLang="en-US" sz="720">
              <a:solidFill>
                <a:srgbClr val="52A9B4"/>
              </a:solidFill>
              <a:latin typeface="Yu Gothic UI Semibold" panose="020B0700000000000000" pitchFamily="50" charset="-128"/>
              <a:ea typeface="Yu Gothic UI Semibold" panose="020B0700000000000000" pitchFamily="50" charset="-128"/>
            </a:endParaRPr>
          </a:p>
        </p:txBody>
      </p:sp>
      <p:sp>
        <p:nvSpPr>
          <p:cNvPr id="20" name="テキスト ボックス 19">
            <a:extLst>
              <a:ext uri="{FF2B5EF4-FFF2-40B4-BE49-F238E27FC236}">
                <a16:creationId xmlns:a16="http://schemas.microsoft.com/office/drawing/2014/main" id="{BFCA41DB-48BF-4303-B90A-8A03BFC5F343}"/>
              </a:ext>
            </a:extLst>
          </p:cNvPr>
          <p:cNvSpPr txBox="1"/>
          <p:nvPr/>
        </p:nvSpPr>
        <p:spPr>
          <a:xfrm>
            <a:off x="4697895" y="2544745"/>
            <a:ext cx="1800000" cy="654545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52A9B4"/>
            </a:solidFill>
          </a:ln>
        </p:spPr>
        <p:txBody>
          <a:bodyPr wrap="square" anchor="t">
            <a:noAutofit/>
          </a:bodyPr>
          <a:lstStyle/>
          <a:p>
            <a:pPr algn="ctr">
              <a:spcAft>
                <a:spcPts val="600"/>
              </a:spcAft>
            </a:pPr>
            <a:r>
              <a:rPr kumimoji="1" lang="en-US" altLang="ja-JP" sz="960" b="1">
                <a:solidFill>
                  <a:srgbClr val="52A9B4"/>
                </a:solidFill>
                <a:latin typeface="Yu Gothic UI Semibold" panose="020B0700000000000000" pitchFamily="50" charset="-128"/>
                <a:ea typeface="Yu Gothic UI Semibold" panose="020B0700000000000000" pitchFamily="50" charset="-128"/>
              </a:rPr>
              <a:t>F</a:t>
            </a:r>
            <a:r>
              <a:rPr kumimoji="1" lang="ja-JP" altLang="en-US" sz="960" b="1">
                <a:solidFill>
                  <a:srgbClr val="52A9B4"/>
                </a:solidFill>
                <a:latin typeface="Yu Gothic UI Semibold" panose="020B0700000000000000" pitchFamily="50" charset="-128"/>
                <a:ea typeface="Yu Gothic UI Semibold" panose="020B0700000000000000" pitchFamily="50" charset="-128"/>
              </a:rPr>
              <a:t>ailure </a:t>
            </a:r>
            <a:r>
              <a:rPr kumimoji="1" lang="en-US" altLang="ja-JP" sz="960" b="1">
                <a:solidFill>
                  <a:srgbClr val="52A9B4"/>
                </a:solidFill>
                <a:latin typeface="Yu Gothic UI Semibold" panose="020B0700000000000000" pitchFamily="50" charset="-128"/>
                <a:ea typeface="Yu Gothic UI Semibold" panose="020B0700000000000000" pitchFamily="50" charset="-128"/>
              </a:rPr>
              <a:t>is not bad</a:t>
            </a:r>
          </a:p>
          <a:p>
            <a:pPr algn="ctr">
              <a:spcAft>
                <a:spcPts val="600"/>
              </a:spcAft>
            </a:pPr>
            <a:r>
              <a:rPr kumimoji="1" lang="en-US" altLang="ja-JP" sz="720">
                <a:solidFill>
                  <a:srgbClr val="52A9B4"/>
                </a:solidFill>
                <a:latin typeface="Yu Gothic UI Semibold" panose="020B0700000000000000" pitchFamily="50" charset="-128"/>
                <a:ea typeface="Yu Gothic UI Semibold" panose="020B0700000000000000" pitchFamily="50" charset="-128"/>
              </a:rPr>
              <a:t>Increasing tolerance for failure</a:t>
            </a:r>
            <a:endParaRPr lang="ja-JP" altLang="en-US" sz="720">
              <a:solidFill>
                <a:srgbClr val="52A9B4"/>
              </a:solidFill>
              <a:latin typeface="Yu Gothic UI Semibold" panose="020B0700000000000000" pitchFamily="50" charset="-128"/>
              <a:ea typeface="Yu Gothic UI Semibold" panose="020B0700000000000000" pitchFamily="50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D0C8123E-60D5-480D-AA8B-89C83B483DD4}"/>
              </a:ext>
            </a:extLst>
          </p:cNvPr>
          <p:cNvSpPr txBox="1"/>
          <p:nvPr/>
        </p:nvSpPr>
        <p:spPr>
          <a:xfrm>
            <a:off x="6583337" y="2544745"/>
            <a:ext cx="1800000" cy="654545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52A9B4"/>
            </a:solidFill>
          </a:ln>
        </p:spPr>
        <p:txBody>
          <a:bodyPr wrap="square" anchor="t">
            <a:noAutofit/>
          </a:bodyPr>
          <a:lstStyle/>
          <a:p>
            <a:pPr algn="ctr">
              <a:spcAft>
                <a:spcPts val="600"/>
              </a:spcAft>
            </a:pPr>
            <a:r>
              <a:rPr kumimoji="1" lang="en-US" altLang="ja-JP" sz="960" b="1">
                <a:solidFill>
                  <a:srgbClr val="52A9B4"/>
                </a:solidFill>
                <a:latin typeface="Yu Gothic UI Semibold" panose="020B0700000000000000" pitchFamily="50" charset="-128"/>
                <a:ea typeface="Yu Gothic UI Semibold" panose="020B0700000000000000" pitchFamily="50" charset="-128"/>
              </a:rPr>
              <a:t>Behavioral Styles</a:t>
            </a:r>
          </a:p>
          <a:p>
            <a:pPr algn="ctr">
              <a:spcAft>
                <a:spcPts val="600"/>
              </a:spcAft>
            </a:pPr>
            <a:r>
              <a:rPr kumimoji="1" lang="en-US" altLang="ja-JP" sz="720">
                <a:solidFill>
                  <a:srgbClr val="52A9B4"/>
                </a:solidFill>
                <a:latin typeface="Yu Gothic UI Semibold" panose="020B0700000000000000" pitchFamily="50" charset="-128"/>
                <a:ea typeface="Yu Gothic UI Semibold" panose="020B0700000000000000" pitchFamily="50" charset="-128"/>
              </a:rPr>
              <a:t>Maximizing shared leadership</a:t>
            </a:r>
            <a:endParaRPr lang="ja-JP" altLang="en-US" sz="720">
              <a:solidFill>
                <a:srgbClr val="52A9B4"/>
              </a:solidFill>
              <a:latin typeface="Yu Gothic UI Semibold" panose="020B0700000000000000" pitchFamily="50" charset="-128"/>
              <a:ea typeface="Yu Gothic UI Semibold" panose="020B0700000000000000" pitchFamily="50" charset="-128"/>
            </a:endParaRPr>
          </a:p>
        </p:txBody>
      </p:sp>
      <p:sp>
        <p:nvSpPr>
          <p:cNvPr id="22" name="テキスト ボックス 21">
            <a:extLst>
              <a:ext uri="{FF2B5EF4-FFF2-40B4-BE49-F238E27FC236}">
                <a16:creationId xmlns:a16="http://schemas.microsoft.com/office/drawing/2014/main" id="{760EC5CA-E2C9-4128-A3E7-7B3187CCB034}"/>
              </a:ext>
            </a:extLst>
          </p:cNvPr>
          <p:cNvSpPr txBox="1"/>
          <p:nvPr/>
        </p:nvSpPr>
        <p:spPr>
          <a:xfrm>
            <a:off x="927011" y="3293371"/>
            <a:ext cx="1800000" cy="654545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52A9B4"/>
            </a:solidFill>
          </a:ln>
        </p:spPr>
        <p:txBody>
          <a:bodyPr wrap="square" anchor="t">
            <a:noAutofit/>
          </a:bodyPr>
          <a:lstStyle/>
          <a:p>
            <a:pPr algn="ctr">
              <a:spcAft>
                <a:spcPts val="600"/>
              </a:spcAft>
            </a:pPr>
            <a:r>
              <a:rPr kumimoji="1" lang="en-US" altLang="ja-JP" sz="960" b="1">
                <a:solidFill>
                  <a:srgbClr val="52A9B4"/>
                </a:solidFill>
                <a:latin typeface="Yu Gothic UI Semibold" panose="020B0700000000000000" pitchFamily="50" charset="-128"/>
                <a:ea typeface="Yu Gothic UI Semibold" panose="020B0700000000000000" pitchFamily="50" charset="-128"/>
              </a:rPr>
              <a:t>C</a:t>
            </a:r>
            <a:r>
              <a:rPr kumimoji="1" lang="ja-JP" altLang="en-US" sz="960" b="1">
                <a:solidFill>
                  <a:srgbClr val="52A9B4"/>
                </a:solidFill>
                <a:latin typeface="Yu Gothic UI Semibold" panose="020B0700000000000000" pitchFamily="50" charset="-128"/>
                <a:ea typeface="Yu Gothic UI Semibold" panose="020B0700000000000000" pitchFamily="50" charset="-128"/>
              </a:rPr>
              <a:t>reativity</a:t>
            </a:r>
            <a:endParaRPr kumimoji="1" lang="en-US" altLang="ja-JP" sz="960" b="1">
              <a:solidFill>
                <a:srgbClr val="52A9B4"/>
              </a:solidFill>
              <a:latin typeface="Yu Gothic UI Semibold" panose="020B0700000000000000" pitchFamily="50" charset="-128"/>
              <a:ea typeface="Yu Gothic UI Semibold" panose="020B0700000000000000" pitchFamily="50" charset="-128"/>
            </a:endParaRPr>
          </a:p>
          <a:p>
            <a:pPr algn="ctr">
              <a:spcAft>
                <a:spcPts val="600"/>
              </a:spcAft>
            </a:pPr>
            <a:r>
              <a:rPr kumimoji="1" lang="en-US" altLang="ja-JP" sz="720">
                <a:solidFill>
                  <a:srgbClr val="52A9B4"/>
                </a:solidFill>
                <a:latin typeface="Yu Gothic UI Semibold" panose="020B0700000000000000" pitchFamily="50" charset="-128"/>
                <a:ea typeface="Yu Gothic UI Semibold" panose="020B0700000000000000" pitchFamily="50" charset="-128"/>
              </a:rPr>
              <a:t>Design thinking for innovation</a:t>
            </a:r>
            <a:endParaRPr lang="ja-JP" altLang="en-US" sz="720">
              <a:solidFill>
                <a:srgbClr val="52A9B4"/>
              </a:solidFill>
              <a:latin typeface="Yu Gothic UI Semibold" panose="020B0700000000000000" pitchFamily="50" charset="-128"/>
              <a:ea typeface="Yu Gothic UI Semibold" panose="020B0700000000000000" pitchFamily="50" charset="-128"/>
            </a:endParaRPr>
          </a:p>
        </p:txBody>
      </p:sp>
      <p:sp>
        <p:nvSpPr>
          <p:cNvPr id="23" name="テキスト ボックス 22">
            <a:extLst>
              <a:ext uri="{FF2B5EF4-FFF2-40B4-BE49-F238E27FC236}">
                <a16:creationId xmlns:a16="http://schemas.microsoft.com/office/drawing/2014/main" id="{F23A2245-E045-46C7-9D22-14F26CBA1317}"/>
              </a:ext>
            </a:extLst>
          </p:cNvPr>
          <p:cNvSpPr txBox="1"/>
          <p:nvPr/>
        </p:nvSpPr>
        <p:spPr>
          <a:xfrm>
            <a:off x="2812453" y="3293371"/>
            <a:ext cx="1800000" cy="654545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52A9B4"/>
            </a:solidFill>
          </a:ln>
        </p:spPr>
        <p:txBody>
          <a:bodyPr wrap="square" anchor="t">
            <a:noAutofit/>
          </a:bodyPr>
          <a:lstStyle/>
          <a:p>
            <a:pPr algn="ctr">
              <a:spcAft>
                <a:spcPts val="600"/>
              </a:spcAft>
            </a:pPr>
            <a:r>
              <a:rPr kumimoji="1" lang="en-US" altLang="ja-JP" sz="960" b="1">
                <a:solidFill>
                  <a:srgbClr val="52A9B4"/>
                </a:solidFill>
                <a:latin typeface="Yu Gothic UI Semibold" panose="020B0700000000000000" pitchFamily="50" charset="-128"/>
                <a:ea typeface="Yu Gothic UI Semibold" panose="020B0700000000000000" pitchFamily="50" charset="-128"/>
              </a:rPr>
              <a:t>Art of Pitching</a:t>
            </a:r>
          </a:p>
          <a:p>
            <a:pPr algn="ctr">
              <a:spcAft>
                <a:spcPts val="600"/>
              </a:spcAft>
            </a:pPr>
            <a:r>
              <a:rPr kumimoji="1" lang="en-US" altLang="ja-JP" sz="720">
                <a:solidFill>
                  <a:srgbClr val="52A9B4"/>
                </a:solidFill>
                <a:latin typeface="Yu Gothic UI Semibold" panose="020B0700000000000000" pitchFamily="50" charset="-128"/>
                <a:ea typeface="Yu Gothic UI Semibold" panose="020B0700000000000000" pitchFamily="50" charset="-128"/>
              </a:rPr>
              <a:t>Networking and enrolling others</a:t>
            </a:r>
            <a:endParaRPr lang="ja-JP" altLang="en-US" sz="720">
              <a:solidFill>
                <a:srgbClr val="52A9B4"/>
              </a:solidFill>
              <a:latin typeface="Yu Gothic UI Semibold" panose="020B0700000000000000" pitchFamily="50" charset="-128"/>
              <a:ea typeface="Yu Gothic UI Semibold" panose="020B0700000000000000" pitchFamily="50" charset="-128"/>
            </a:endParaRPr>
          </a:p>
        </p:txBody>
      </p:sp>
      <p:sp>
        <p:nvSpPr>
          <p:cNvPr id="24" name="テキスト ボックス 23">
            <a:extLst>
              <a:ext uri="{FF2B5EF4-FFF2-40B4-BE49-F238E27FC236}">
                <a16:creationId xmlns:a16="http://schemas.microsoft.com/office/drawing/2014/main" id="{D37735DE-6656-487D-A706-D760A1356D28}"/>
              </a:ext>
            </a:extLst>
          </p:cNvPr>
          <p:cNvSpPr txBox="1"/>
          <p:nvPr/>
        </p:nvSpPr>
        <p:spPr>
          <a:xfrm>
            <a:off x="4697895" y="3293371"/>
            <a:ext cx="1800000" cy="654545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52A9B4"/>
            </a:solidFill>
          </a:ln>
        </p:spPr>
        <p:txBody>
          <a:bodyPr wrap="square" lIns="0" rIns="0" anchor="t">
            <a:noAutofit/>
          </a:bodyPr>
          <a:lstStyle/>
          <a:p>
            <a:pPr algn="ctr">
              <a:spcAft>
                <a:spcPts val="300"/>
              </a:spcAft>
            </a:pPr>
            <a:r>
              <a:rPr kumimoji="1" lang="en-US" altLang="ja-JP" sz="960" b="1">
                <a:solidFill>
                  <a:srgbClr val="52A9B4"/>
                </a:solidFill>
                <a:latin typeface="Yu Gothic UI Semibold" panose="020B0700000000000000" pitchFamily="50" charset="-128"/>
                <a:ea typeface="Yu Gothic UI Semibold" panose="020B0700000000000000" pitchFamily="50" charset="-128"/>
              </a:rPr>
              <a:t>A</a:t>
            </a:r>
            <a:r>
              <a:rPr kumimoji="1" lang="ja-JP" altLang="en-US" sz="960" b="1">
                <a:solidFill>
                  <a:srgbClr val="52A9B4"/>
                </a:solidFill>
                <a:latin typeface="Yu Gothic UI Semibold" panose="020B0700000000000000" pitchFamily="50" charset="-128"/>
                <a:ea typeface="Yu Gothic UI Semibold" panose="020B0700000000000000" pitchFamily="50" charset="-128"/>
              </a:rPr>
              <a:t>naly</a:t>
            </a:r>
            <a:r>
              <a:rPr kumimoji="1" lang="en-US" altLang="ja-JP" sz="960" b="1">
                <a:solidFill>
                  <a:srgbClr val="52A9B4"/>
                </a:solidFill>
                <a:latin typeface="Yu Gothic UI Semibold" panose="020B0700000000000000" pitchFamily="50" charset="-128"/>
                <a:ea typeface="Yu Gothic UI Semibold" panose="020B0700000000000000" pitchFamily="50" charset="-128"/>
              </a:rPr>
              <a:t>sis</a:t>
            </a:r>
          </a:p>
          <a:p>
            <a:pPr algn="ctr">
              <a:spcAft>
                <a:spcPts val="600"/>
              </a:spcAft>
            </a:pPr>
            <a:r>
              <a:rPr lang="en-US" altLang="ja-JP" sz="840">
                <a:solidFill>
                  <a:srgbClr val="52A9B4"/>
                </a:solidFill>
                <a:latin typeface="Yu Gothic UI Semibold" panose="020B0700000000000000" pitchFamily="50" charset="-128"/>
                <a:ea typeface="Yu Gothic UI Semibold" panose="020B0700000000000000" pitchFamily="50" charset="-128"/>
              </a:rPr>
              <a:t>Evaluating opportunity, assessing feasibility, and analyzing stakeholders</a:t>
            </a:r>
            <a:endParaRPr lang="ja-JP" altLang="en-US" sz="840">
              <a:solidFill>
                <a:srgbClr val="52A9B4"/>
              </a:solidFill>
              <a:latin typeface="Yu Gothic UI Semibold" panose="020B0700000000000000" pitchFamily="50" charset="-128"/>
              <a:ea typeface="Yu Gothic UI Semibold" panose="020B0700000000000000" pitchFamily="50" charset="-128"/>
            </a:endParaRP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FB92C219-6365-491B-93C3-883CEDF6368B}"/>
              </a:ext>
            </a:extLst>
          </p:cNvPr>
          <p:cNvSpPr txBox="1"/>
          <p:nvPr/>
        </p:nvSpPr>
        <p:spPr>
          <a:xfrm>
            <a:off x="6583337" y="3293371"/>
            <a:ext cx="1800000" cy="654545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52A9B4"/>
            </a:solidFill>
          </a:ln>
        </p:spPr>
        <p:txBody>
          <a:bodyPr wrap="square" anchor="t">
            <a:noAutofit/>
          </a:bodyPr>
          <a:lstStyle/>
          <a:p>
            <a:pPr algn="ctr">
              <a:spcAft>
                <a:spcPts val="600"/>
              </a:spcAft>
            </a:pPr>
            <a:r>
              <a:rPr kumimoji="1" lang="en-US" altLang="ja-JP" sz="960" b="1">
                <a:solidFill>
                  <a:srgbClr val="52A9B4"/>
                </a:solidFill>
                <a:latin typeface="Yu Gothic UI Semibold" panose="020B0700000000000000" pitchFamily="50" charset="-128"/>
                <a:ea typeface="Yu Gothic UI Semibold" panose="020B0700000000000000" pitchFamily="50" charset="-128"/>
              </a:rPr>
              <a:t>C</a:t>
            </a:r>
            <a:r>
              <a:rPr kumimoji="1" lang="ja-JP" altLang="en-US" sz="960" b="1">
                <a:solidFill>
                  <a:srgbClr val="52A9B4"/>
                </a:solidFill>
                <a:latin typeface="Yu Gothic UI Semibold" panose="020B0700000000000000" pitchFamily="50" charset="-128"/>
                <a:ea typeface="Yu Gothic UI Semibold" panose="020B0700000000000000" pitchFamily="50" charset="-128"/>
              </a:rPr>
              <a:t>entripetal</a:t>
            </a:r>
            <a:endParaRPr kumimoji="1" lang="en-US" altLang="ja-JP" sz="960" b="1">
              <a:solidFill>
                <a:srgbClr val="52A9B4"/>
              </a:solidFill>
              <a:latin typeface="Yu Gothic UI Semibold" panose="020B0700000000000000" pitchFamily="50" charset="-128"/>
              <a:ea typeface="Yu Gothic UI Semibold" panose="020B0700000000000000" pitchFamily="50" charset="-128"/>
            </a:endParaRPr>
          </a:p>
          <a:p>
            <a:pPr algn="ctr">
              <a:spcAft>
                <a:spcPts val="600"/>
              </a:spcAft>
            </a:pPr>
            <a:r>
              <a:rPr kumimoji="1" lang="en-US" altLang="ja-JP" sz="720">
                <a:solidFill>
                  <a:srgbClr val="52A9B4"/>
                </a:solidFill>
                <a:latin typeface="Yu Gothic UI Semibold" panose="020B0700000000000000" pitchFamily="50" charset="-128"/>
                <a:ea typeface="Yu Gothic UI Semibold" panose="020B0700000000000000" pitchFamily="50" charset="-128"/>
              </a:rPr>
              <a:t>Crafting a stronger value proposition towards a mission statement</a:t>
            </a:r>
            <a:endParaRPr lang="ja-JP" altLang="en-US" sz="720">
              <a:solidFill>
                <a:srgbClr val="52A9B4"/>
              </a:solidFill>
              <a:latin typeface="Yu Gothic UI Semibold" panose="020B0700000000000000" pitchFamily="50" charset="-128"/>
              <a:ea typeface="Yu Gothic UI Semibold" panose="020B0700000000000000" pitchFamily="50" charset="-128"/>
            </a:endParaRPr>
          </a:p>
        </p:txBody>
      </p:sp>
      <p:sp>
        <p:nvSpPr>
          <p:cNvPr id="28" name="テキスト ボックス 27">
            <a:extLst>
              <a:ext uri="{FF2B5EF4-FFF2-40B4-BE49-F238E27FC236}">
                <a16:creationId xmlns:a16="http://schemas.microsoft.com/office/drawing/2014/main" id="{224041E8-15E1-4E73-9537-02E9405EC118}"/>
              </a:ext>
            </a:extLst>
          </p:cNvPr>
          <p:cNvSpPr txBox="1"/>
          <p:nvPr/>
        </p:nvSpPr>
        <p:spPr>
          <a:xfrm>
            <a:off x="633836" y="1919274"/>
            <a:ext cx="8113785" cy="4370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ja-JP" altLang="en-US" sz="1120">
                <a:solidFill>
                  <a:schemeClr val="tx1">
                    <a:lumMod val="50000"/>
                    <a:lumOff val="50000"/>
                  </a:schemeClr>
                </a:solidFill>
                <a:latin typeface="Yu Gothic UI Semilight" panose="020B0400000000000000" pitchFamily="50" charset="-128"/>
                <a:ea typeface="Yu Gothic UI Semilight" panose="020B0400000000000000" pitchFamily="50" charset="-128"/>
              </a:rPr>
              <a:t>The World </a:t>
            </a:r>
            <a:r>
              <a:rPr lang="en-US" altLang="ja-JP" sz="1120">
                <a:solidFill>
                  <a:schemeClr val="tx1">
                    <a:lumMod val="50000"/>
                    <a:lumOff val="50000"/>
                  </a:schemeClr>
                </a:solidFill>
                <a:latin typeface="Yu Gothic UI Semilight" panose="020B0400000000000000" pitchFamily="50" charset="-128"/>
                <a:ea typeface="Yu Gothic UI Semilight" panose="020B0400000000000000" pitchFamily="50" charset="-128"/>
              </a:rPr>
              <a:t>class e</a:t>
            </a:r>
            <a:r>
              <a:rPr lang="ja-JP" altLang="en-US" sz="1120">
                <a:solidFill>
                  <a:schemeClr val="tx1">
                    <a:lumMod val="50000"/>
                    <a:lumOff val="50000"/>
                  </a:schemeClr>
                </a:solidFill>
                <a:latin typeface="Yu Gothic UI Semilight" panose="020B0400000000000000" pitchFamily="50" charset="-128"/>
                <a:ea typeface="Yu Gothic UI Semilight" panose="020B0400000000000000" pitchFamily="50" charset="-128"/>
              </a:rPr>
              <a:t>ntrepreneurship </a:t>
            </a:r>
            <a:r>
              <a:rPr lang="en-US" altLang="ja-JP" sz="1120">
                <a:solidFill>
                  <a:schemeClr val="tx1">
                    <a:lumMod val="50000"/>
                    <a:lumOff val="50000"/>
                  </a:schemeClr>
                </a:solidFill>
                <a:latin typeface="Yu Gothic UI Semilight" panose="020B0400000000000000" pitchFamily="50" charset="-128"/>
                <a:ea typeface="Yu Gothic UI Semilight" panose="020B0400000000000000" pitchFamily="50" charset="-128"/>
              </a:rPr>
              <a:t>e</a:t>
            </a:r>
            <a:r>
              <a:rPr lang="ja-JP" altLang="en-US" sz="1120">
                <a:solidFill>
                  <a:schemeClr val="tx1">
                    <a:lumMod val="50000"/>
                    <a:lumOff val="50000"/>
                  </a:schemeClr>
                </a:solidFill>
                <a:latin typeface="Yu Gothic UI Semilight" panose="020B0400000000000000" pitchFamily="50" charset="-128"/>
                <a:ea typeface="Yu Gothic UI Semilight" panose="020B0400000000000000" pitchFamily="50" charset="-128"/>
              </a:rPr>
              <a:t>ducation </a:t>
            </a:r>
            <a:r>
              <a:rPr lang="en-US" altLang="ja-JP" sz="1120">
                <a:solidFill>
                  <a:schemeClr val="tx1">
                    <a:lumMod val="50000"/>
                    <a:lumOff val="50000"/>
                  </a:schemeClr>
                </a:solidFill>
                <a:latin typeface="Yu Gothic UI Semilight" panose="020B0400000000000000" pitchFamily="50" charset="-128"/>
                <a:ea typeface="Yu Gothic UI Semilight" panose="020B0400000000000000" pitchFamily="50" charset="-128"/>
              </a:rPr>
              <a:t>by </a:t>
            </a:r>
            <a:r>
              <a:rPr lang="ja-JP" altLang="en-US" sz="1120">
                <a:solidFill>
                  <a:schemeClr val="tx1">
                    <a:lumMod val="50000"/>
                    <a:lumOff val="50000"/>
                  </a:schemeClr>
                </a:solidFill>
                <a:latin typeface="Yu Gothic UI Semilight" panose="020B0400000000000000" pitchFamily="50" charset="-128"/>
                <a:ea typeface="Yu Gothic UI Semilight" panose="020B0400000000000000" pitchFamily="50" charset="-128"/>
              </a:rPr>
              <a:t>Dr. Yamakawa of Babson College</a:t>
            </a:r>
            <a:br>
              <a:rPr lang="en-US" altLang="ja-JP" sz="1400">
                <a:solidFill>
                  <a:schemeClr val="tx1">
                    <a:lumMod val="50000"/>
                    <a:lumOff val="50000"/>
                  </a:schemeClr>
                </a:solidFill>
                <a:latin typeface="Yu Gothic UI Semilight" panose="020B0400000000000000" pitchFamily="50" charset="-128"/>
                <a:ea typeface="Yu Gothic UI Semilight" panose="020B0400000000000000" pitchFamily="50" charset="-128"/>
              </a:rPr>
            </a:br>
            <a:r>
              <a:rPr lang="en-US" altLang="ja-JP" sz="1120">
                <a:solidFill>
                  <a:schemeClr val="tx1">
                    <a:lumMod val="50000"/>
                    <a:lumOff val="50000"/>
                  </a:schemeClr>
                </a:solidFill>
                <a:latin typeface="Yu Gothic UI Semilight" panose="020B0400000000000000" pitchFamily="50" charset="-128"/>
                <a:ea typeface="Yu Gothic UI Semilight" panose="020B0400000000000000" pitchFamily="50" charset="-128"/>
              </a:rPr>
              <a:t>i</a:t>
            </a:r>
            <a:r>
              <a:rPr lang="ja-JP" altLang="en-US" sz="1120">
                <a:solidFill>
                  <a:schemeClr val="tx1">
                    <a:lumMod val="50000"/>
                    <a:lumOff val="50000"/>
                  </a:schemeClr>
                </a:solidFill>
                <a:latin typeface="Yu Gothic UI Semilight" panose="020B0400000000000000" pitchFamily="50" charset="-128"/>
                <a:ea typeface="Yu Gothic UI Semilight" panose="020B0400000000000000" pitchFamily="50" charset="-128"/>
              </a:rPr>
              <a:t>n lectures, group work practice, and pitch contests</a:t>
            </a:r>
            <a:r>
              <a:rPr lang="en-US" altLang="ja-JP" sz="1120">
                <a:solidFill>
                  <a:schemeClr val="tx1">
                    <a:lumMod val="50000"/>
                    <a:lumOff val="50000"/>
                  </a:schemeClr>
                </a:solidFill>
                <a:latin typeface="Yu Gothic UI Semilight" panose="020B0400000000000000" pitchFamily="50" charset="-128"/>
                <a:ea typeface="Yu Gothic UI Semilight" panose="020B0400000000000000" pitchFamily="50" charset="-128"/>
              </a:rPr>
              <a:t> to </a:t>
            </a:r>
            <a:r>
              <a:rPr lang="ja-JP" altLang="en-US" sz="1120">
                <a:solidFill>
                  <a:schemeClr val="tx1">
                    <a:lumMod val="50000"/>
                    <a:lumOff val="50000"/>
                  </a:schemeClr>
                </a:solidFill>
                <a:latin typeface="Yu Gothic UI Semilight" panose="020B0400000000000000" pitchFamily="50" charset="-128"/>
                <a:ea typeface="Yu Gothic UI Semilight" panose="020B0400000000000000" pitchFamily="50" charset="-128"/>
              </a:rPr>
              <a:t>acquire eight essential skills for </a:t>
            </a:r>
            <a:r>
              <a:rPr lang="en-US" altLang="ja-JP" sz="1120">
                <a:solidFill>
                  <a:schemeClr val="tx1">
                    <a:lumMod val="50000"/>
                    <a:lumOff val="50000"/>
                  </a:schemeClr>
                </a:solidFill>
                <a:latin typeface="Yu Gothic UI Semilight" panose="020B0400000000000000" pitchFamily="50" charset="-128"/>
                <a:ea typeface="Yu Gothic UI Semilight" panose="020B0400000000000000" pitchFamily="50" charset="-128"/>
              </a:rPr>
              <a:t>Intrapreneur</a:t>
            </a:r>
            <a:r>
              <a:rPr lang="ja-JP" altLang="en-US" sz="1120">
                <a:solidFill>
                  <a:schemeClr val="tx1">
                    <a:lumMod val="50000"/>
                    <a:lumOff val="50000"/>
                  </a:schemeClr>
                </a:solidFill>
                <a:latin typeface="Yu Gothic UI Semilight" panose="020B0400000000000000" pitchFamily="50" charset="-128"/>
                <a:ea typeface="Yu Gothic UI Semilight" panose="020B0400000000000000" pitchFamily="50" charset="-128"/>
              </a:rPr>
              <a:t>.</a:t>
            </a:r>
            <a:endParaRPr lang="en-US" altLang="ja-JP" sz="1120">
              <a:solidFill>
                <a:schemeClr val="tx1">
                  <a:lumMod val="50000"/>
                  <a:lumOff val="50000"/>
                </a:schemeClr>
              </a:solidFill>
              <a:latin typeface="Yu Gothic UI Semilight" panose="020B0400000000000000" pitchFamily="50" charset="-128"/>
              <a:ea typeface="Yu Gothic UI Semilight" panose="020B0400000000000000" pitchFamily="50" charset="-128"/>
            </a:endParaRPr>
          </a:p>
        </p:txBody>
      </p:sp>
      <p:sp>
        <p:nvSpPr>
          <p:cNvPr id="30" name="テキスト ボックス 29">
            <a:extLst>
              <a:ext uri="{FF2B5EF4-FFF2-40B4-BE49-F238E27FC236}">
                <a16:creationId xmlns:a16="http://schemas.microsoft.com/office/drawing/2014/main" id="{6A828EED-AC7E-4143-9CE3-B2EDA35A25F7}"/>
              </a:ext>
            </a:extLst>
          </p:cNvPr>
          <p:cNvSpPr txBox="1"/>
          <p:nvPr/>
        </p:nvSpPr>
        <p:spPr>
          <a:xfrm>
            <a:off x="927011" y="4031588"/>
            <a:ext cx="7456326" cy="305350"/>
          </a:xfrm>
          <a:prstGeom prst="roundRect">
            <a:avLst>
              <a:gd name="adj" fmla="val 29145"/>
            </a:avLst>
          </a:prstGeom>
          <a:solidFill>
            <a:srgbClr val="52A9B4"/>
          </a:solidFill>
          <a:ln w="19050">
            <a:solidFill>
              <a:srgbClr val="52A9B4"/>
            </a:solidFill>
          </a:ln>
        </p:spPr>
        <p:txBody>
          <a:bodyPr wrap="square" anchor="ctr">
            <a:noAutofit/>
          </a:bodyPr>
          <a:lstStyle/>
          <a:p>
            <a:pPr algn="ctr">
              <a:spcAft>
                <a:spcPts val="600"/>
              </a:spcAft>
            </a:pPr>
            <a:r>
              <a:rPr kumimoji="1" lang="en-US" altLang="ja-JP" sz="1120" b="1">
                <a:solidFill>
                  <a:schemeClr val="bg1"/>
                </a:solidFill>
                <a:latin typeface="Yu Gothic UI Semibold" panose="020B0700000000000000" pitchFamily="50" charset="-128"/>
                <a:ea typeface="Yu Gothic UI Semibold" panose="020B0700000000000000" pitchFamily="50" charset="-128"/>
              </a:rPr>
              <a:t>Rocket Pitch/Final Pitch</a:t>
            </a:r>
          </a:p>
        </p:txBody>
      </p:sp>
      <p:sp>
        <p:nvSpPr>
          <p:cNvPr id="33" name="テキスト ボックス 32">
            <a:extLst>
              <a:ext uri="{FF2B5EF4-FFF2-40B4-BE49-F238E27FC236}">
                <a16:creationId xmlns:a16="http://schemas.microsoft.com/office/drawing/2014/main" id="{DC38B4BF-E33E-4137-88D9-9C0ED05B0E1E}"/>
              </a:ext>
            </a:extLst>
          </p:cNvPr>
          <p:cNvSpPr txBox="1"/>
          <p:nvPr/>
        </p:nvSpPr>
        <p:spPr>
          <a:xfrm>
            <a:off x="927011" y="4413602"/>
            <a:ext cx="7456326" cy="305350"/>
          </a:xfrm>
          <a:prstGeom prst="roundRect">
            <a:avLst>
              <a:gd name="adj" fmla="val 29145"/>
            </a:avLst>
          </a:prstGeom>
          <a:solidFill>
            <a:srgbClr val="52A9B4"/>
          </a:solidFill>
          <a:ln w="19050">
            <a:solidFill>
              <a:srgbClr val="52A9B4"/>
            </a:solidFill>
          </a:ln>
        </p:spPr>
        <p:txBody>
          <a:bodyPr wrap="square" anchor="ctr">
            <a:noAutofit/>
          </a:bodyPr>
          <a:lstStyle/>
          <a:p>
            <a:pPr algn="ctr">
              <a:spcAft>
                <a:spcPts val="600"/>
              </a:spcAft>
            </a:pPr>
            <a:r>
              <a:rPr kumimoji="1" lang="en-US" altLang="ja-JP" sz="1120" b="1">
                <a:solidFill>
                  <a:schemeClr val="bg1"/>
                </a:solidFill>
                <a:latin typeface="Yu Gothic UI Semibold" panose="020B0700000000000000" pitchFamily="50" charset="-128"/>
                <a:ea typeface="Yu Gothic UI Semibold" panose="020B0700000000000000" pitchFamily="50" charset="-128"/>
              </a:rPr>
              <a:t>Group Work    </a:t>
            </a:r>
            <a:r>
              <a:rPr kumimoji="1" lang="en-US" altLang="ja-JP" sz="1050" b="1">
                <a:solidFill>
                  <a:schemeClr val="bg1"/>
                </a:solidFill>
                <a:latin typeface="Yu Gothic UI Semibold" panose="020B0700000000000000" pitchFamily="50" charset="-128"/>
                <a:ea typeface="Yu Gothic UI Semibold" panose="020B0700000000000000" pitchFamily="50" charset="-128"/>
              </a:rPr>
              <a:t>learning through practical training</a:t>
            </a:r>
          </a:p>
        </p:txBody>
      </p:sp>
      <p:sp>
        <p:nvSpPr>
          <p:cNvPr id="10" name="スライド番号プレースホルダー 9">
            <a:extLst>
              <a:ext uri="{FF2B5EF4-FFF2-40B4-BE49-F238E27FC236}">
                <a16:creationId xmlns:a16="http://schemas.microsoft.com/office/drawing/2014/main" id="{BF315A17-EF77-406C-AE9C-105974699B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B5B02AC-72C7-48A8-B1FA-68CE81373FC9}" type="slidenum">
              <a:rPr lang="en-US" altLang="ja-JP" smtClean="0"/>
              <a:pPr/>
              <a:t>3</a:t>
            </a:fld>
            <a:endParaRPr lang="ja-JP" altLang="en-US"/>
          </a:p>
        </p:txBody>
      </p:sp>
      <p:sp>
        <p:nvSpPr>
          <p:cNvPr id="34" name="正方形/長方形 33">
            <a:extLst>
              <a:ext uri="{FF2B5EF4-FFF2-40B4-BE49-F238E27FC236}">
                <a16:creationId xmlns:a16="http://schemas.microsoft.com/office/drawing/2014/main" id="{158B1ADE-F401-43F4-BED6-9B2F2876A2CE}"/>
              </a:ext>
            </a:extLst>
          </p:cNvPr>
          <p:cNvSpPr/>
          <p:nvPr/>
        </p:nvSpPr>
        <p:spPr>
          <a:xfrm>
            <a:off x="6935547" y="1434789"/>
            <a:ext cx="2132872" cy="424732"/>
          </a:xfrm>
          <a:prstGeom prst="rect">
            <a:avLst/>
          </a:prstGeom>
        </p:spPr>
        <p:txBody>
          <a:bodyPr lIns="91440" tIns="45720" rIns="91440" bIns="45720" anchor="t">
            <a:sp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720" b="1" i="0" u="none" strike="noStrike" kern="1200" cap="none" spc="0" normalizeH="0" baseline="0" noProof="0">
                <a:solidFill>
                  <a:sysClr val="windowText" lastClr="000000"/>
                </a:solidFill>
                <a:effectLst/>
                <a:uLnTx/>
                <a:uFillTx/>
                <a:latin typeface="Yu Gothic UI Semilight" panose="020B0400000000000000" pitchFamily="50" charset="-128"/>
                <a:ea typeface="Yu Gothic UI Semilight" panose="020B0400000000000000" pitchFamily="50" charset="-128"/>
              </a:rPr>
              <a:t>Associate Professor of Entrepreneurship, </a:t>
            </a:r>
            <a:endParaRPr kumimoji="1" lang="en-US" altLang="ja-JP" sz="720" b="1" i="0" u="none" strike="noStrike" kern="1200" cap="none" spc="0" normalizeH="0" baseline="0" noProof="0">
              <a:solidFill>
                <a:sysClr val="windowText" lastClr="000000"/>
              </a:solidFill>
              <a:effectLst/>
              <a:uLnTx/>
              <a:uFillTx/>
              <a:latin typeface="Yu Gothic UI Semilight" panose="020B0400000000000000" pitchFamily="50" charset="-128"/>
              <a:ea typeface="Yu Gothic UI Semilight" panose="020B0400000000000000" pitchFamily="50" charset="-128"/>
            </a:endParaRPr>
          </a:p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700" b="1" i="0" u="none" strike="noStrike" kern="1200" cap="none" spc="0" normalizeH="0" baseline="0" noProof="0">
                <a:effectLst/>
                <a:uLnTx/>
                <a:uFillTx/>
                <a:latin typeface="Yu Gothic UI Semilight"/>
                <a:ea typeface="Yu Gothic UI Semilight"/>
              </a:rPr>
              <a:t>Babson </a:t>
            </a:r>
            <a:r>
              <a:rPr kumimoji="1" lang="ja-JP" altLang="en-US" sz="700" b="1">
                <a:latin typeface="Yu Gothic UI Semilight"/>
                <a:ea typeface="Yu Gothic UI Semilight"/>
              </a:rPr>
              <a:t>College</a:t>
            </a:r>
            <a:br>
              <a:rPr lang="ja-JP" altLang="en-US" sz="900" b="1" i="0" u="none" strike="noStrike" kern="1200" cap="none" spc="0" normalizeH="0" baseline="0" noProof="0">
                <a:effectLst/>
                <a:uLnTx/>
                <a:uFillTx/>
                <a:latin typeface="Yu Gothic UI Semilight" panose="020B0400000000000000" pitchFamily="50" charset="-128"/>
                <a:ea typeface="Yu Gothic UI Semilight" panose="020B0400000000000000" pitchFamily="50" charset="-128"/>
              </a:rPr>
            </a:br>
            <a:r>
              <a:rPr kumimoji="1" lang="ja-JP" altLang="en-US" sz="700" b="1" i="0" u="none" strike="noStrike" kern="1200" cap="none" spc="0" normalizeH="0" baseline="0" noProof="0">
                <a:effectLst/>
                <a:uLnTx/>
                <a:uFillTx/>
                <a:latin typeface="Yu Gothic UI Semilight"/>
                <a:ea typeface="Yu Gothic UI Semilight"/>
              </a:rPr>
              <a:t>Yasuhiro Yamakawa</a:t>
            </a:r>
            <a:endParaRPr lang="ja-JP" altLang="en-US" sz="700" b="1" i="0" u="none" strike="noStrike" kern="1200" cap="none" spc="0" normalizeH="0" baseline="0" noProof="0">
              <a:effectLst/>
              <a:uLnTx/>
              <a:uFillTx/>
              <a:latin typeface="Yu Gothic UI Semilight"/>
              <a:ea typeface="Yu Gothic UI Semilight"/>
            </a:endParaRPr>
          </a:p>
        </p:txBody>
      </p:sp>
      <p:pic>
        <p:nvPicPr>
          <p:cNvPr id="31" name="Picture 6" descr="Photo: Yasuhiro Yamakawa">
            <a:extLst>
              <a:ext uri="{FF2B5EF4-FFF2-40B4-BE49-F238E27FC236}">
                <a16:creationId xmlns:a16="http://schemas.microsoft.com/office/drawing/2014/main" id="{32CCBB4A-D5E0-49D6-9701-F13C05AF641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748" r="10203" b="37156"/>
          <a:stretch/>
        </p:blipFill>
        <p:spPr bwMode="auto">
          <a:xfrm>
            <a:off x="7557243" y="463046"/>
            <a:ext cx="889480" cy="9549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図 34">
            <a:extLst>
              <a:ext uri="{FF2B5EF4-FFF2-40B4-BE49-F238E27FC236}">
                <a16:creationId xmlns:a16="http://schemas.microsoft.com/office/drawing/2014/main" id="{04B34488-5FE0-46A3-98B5-D35AAA1CA16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557243" y="272420"/>
            <a:ext cx="889480" cy="188942"/>
          </a:xfrm>
          <a:prstGeom prst="rect">
            <a:avLst/>
          </a:prstGeom>
        </p:spPr>
      </p:pic>
      <p:sp>
        <p:nvSpPr>
          <p:cNvPr id="36" name="フッター プレースホルダー 1">
            <a:extLst>
              <a:ext uri="{FF2B5EF4-FFF2-40B4-BE49-F238E27FC236}">
                <a16:creationId xmlns:a16="http://schemas.microsoft.com/office/drawing/2014/main" id="{A7C654C1-82CB-45D0-AB01-21C5841960B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7323909" y="4994816"/>
            <a:ext cx="1589691" cy="111600"/>
          </a:xfrm>
        </p:spPr>
        <p:txBody>
          <a:bodyPr/>
          <a:lstStyle/>
          <a:p>
            <a:pPr>
              <a:defRPr/>
            </a:pPr>
            <a:r>
              <a:rPr lang="en-US" altLang="ja-JP">
                <a:solidFill>
                  <a:srgbClr val="000000"/>
                </a:solidFill>
              </a:rPr>
              <a:t>Copyright 2021 FUJITSU LIMITED</a:t>
            </a:r>
            <a:endParaRPr lang="de-DE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2482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グラフィックス 15">
            <a:extLst>
              <a:ext uri="{FF2B5EF4-FFF2-40B4-BE49-F238E27FC236}">
                <a16:creationId xmlns:a16="http://schemas.microsoft.com/office/drawing/2014/main" id="{2E07663A-9AF6-4BA9-B1A9-BC0B3A91AE6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15246" y="169097"/>
            <a:ext cx="577864" cy="547609"/>
          </a:xfrm>
          <a:prstGeom prst="rect">
            <a:avLst/>
          </a:prstGeom>
        </p:spPr>
      </p:pic>
      <p:pic>
        <p:nvPicPr>
          <p:cNvPr id="15" name="グラフィックス 14">
            <a:extLst>
              <a:ext uri="{FF2B5EF4-FFF2-40B4-BE49-F238E27FC236}">
                <a16:creationId xmlns:a16="http://schemas.microsoft.com/office/drawing/2014/main" id="{28F92452-9956-4248-9CD0-61A140DD922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99278" y="169097"/>
            <a:ext cx="1809928" cy="128048"/>
          </a:xfrm>
          <a:prstGeom prst="rect">
            <a:avLst/>
          </a:prstGeom>
        </p:spPr>
      </p:pic>
      <p:sp>
        <p:nvSpPr>
          <p:cNvPr id="16" name="正方形/長方形 15">
            <a:extLst>
              <a:ext uri="{FF2B5EF4-FFF2-40B4-BE49-F238E27FC236}">
                <a16:creationId xmlns:a16="http://schemas.microsoft.com/office/drawing/2014/main" id="{F453183A-2F58-4F72-BC61-2A32E29541AE}"/>
              </a:ext>
            </a:extLst>
          </p:cNvPr>
          <p:cNvSpPr/>
          <p:nvPr/>
        </p:nvSpPr>
        <p:spPr bwMode="gray">
          <a:xfrm>
            <a:off x="861496" y="281362"/>
            <a:ext cx="2224422" cy="461458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rtl="0" eaLnBrk="1" fontAlgn="ctr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2880" dirty="0">
                <a:solidFill>
                  <a:srgbClr val="7F7F7F"/>
                </a:solidFill>
                <a:latin typeface="Calibri" panose="020F0502020204030204" pitchFamily="34" charset="0"/>
                <a:ea typeface="游ゴシック" panose="020B0400000000000000" pitchFamily="50" charset="-128"/>
              </a:rPr>
              <a:t>Step up toward Next stage</a:t>
            </a:r>
          </a:p>
        </p:txBody>
      </p:sp>
      <p:sp>
        <p:nvSpPr>
          <p:cNvPr id="3" name="スライド番号プレースホルダー 2">
            <a:extLst>
              <a:ext uri="{FF2B5EF4-FFF2-40B4-BE49-F238E27FC236}">
                <a16:creationId xmlns:a16="http://schemas.microsoft.com/office/drawing/2014/main" id="{4DFFDBCE-D40A-4D56-8A5B-E2363B7099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B5B02AC-72C7-48A8-B1FA-68CE81373FC9}" type="slidenum">
              <a:rPr lang="en-US" altLang="ja-JP" smtClean="0"/>
              <a:pPr/>
              <a:t>4</a:t>
            </a:fld>
            <a:endParaRPr lang="ja-JP" altLang="en-US"/>
          </a:p>
        </p:txBody>
      </p:sp>
      <p:sp>
        <p:nvSpPr>
          <p:cNvPr id="171" name="テキスト ボックス 170">
            <a:extLst>
              <a:ext uri="{FF2B5EF4-FFF2-40B4-BE49-F238E27FC236}">
                <a16:creationId xmlns:a16="http://schemas.microsoft.com/office/drawing/2014/main" id="{C16EDB3F-02FE-4528-A396-199D58612980}"/>
              </a:ext>
            </a:extLst>
          </p:cNvPr>
          <p:cNvSpPr txBox="1"/>
          <p:nvPr/>
        </p:nvSpPr>
        <p:spPr>
          <a:xfrm>
            <a:off x="625815" y="1137334"/>
            <a:ext cx="7376168" cy="5878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66065" indent="-266065">
              <a:spcAft>
                <a:spcPts val="600"/>
              </a:spcAft>
            </a:pPr>
            <a:r>
              <a:rPr lang="en-US" altLang="ja-JP" sz="1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Yu Gothic UI Semibold" panose="020B0700000000000000" pitchFamily="50" charset="-128"/>
                <a:ea typeface="Yu Gothic UI Semibold" panose="020B0700000000000000" pitchFamily="50" charset="-128"/>
              </a:rPr>
              <a:t>Let’s try to step up with your entrepreneurship !</a:t>
            </a:r>
          </a:p>
          <a:p>
            <a:pPr marL="266065" indent="-266065">
              <a:spcAft>
                <a:spcPts val="600"/>
              </a:spcAft>
            </a:pPr>
            <a:r>
              <a:rPr lang="en-US" altLang="ja-JP" sz="1120" dirty="0">
                <a:solidFill>
                  <a:schemeClr val="tx1">
                    <a:lumMod val="50000"/>
                    <a:lumOff val="50000"/>
                  </a:schemeClr>
                </a:solidFill>
                <a:latin typeface="Yu Gothic UI Semilight" panose="020B0400000000000000" pitchFamily="50" charset="-128"/>
                <a:ea typeface="Yu Gothic UI Semilight" panose="020B0400000000000000" pitchFamily="50" charset="-128"/>
              </a:rPr>
              <a:t>If you pass our tryout, you get Challenge stage opportunity</a:t>
            </a:r>
            <a:endParaRPr lang="ja-JP" altLang="en-US" sz="2880" dirty="0">
              <a:solidFill>
                <a:schemeClr val="tx1">
                  <a:lumMod val="50000"/>
                  <a:lumOff val="50000"/>
                </a:schemeClr>
              </a:solidFill>
              <a:latin typeface="Yu Gothic UI Semilight" panose="020B0400000000000000" pitchFamily="50" charset="-128"/>
              <a:ea typeface="Yu Gothic UI Semilight" panose="020B0400000000000000" pitchFamily="50" charset="-128"/>
            </a:endParaRPr>
          </a:p>
        </p:txBody>
      </p:sp>
      <p:sp>
        <p:nvSpPr>
          <p:cNvPr id="178" name="フッター プレースホルダー 1">
            <a:extLst>
              <a:ext uri="{FF2B5EF4-FFF2-40B4-BE49-F238E27FC236}">
                <a16:creationId xmlns:a16="http://schemas.microsoft.com/office/drawing/2014/main" id="{3216E8BE-2246-4A4E-819C-1CCC3C56FC1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7323909" y="4994816"/>
            <a:ext cx="1589691" cy="111600"/>
          </a:xfrm>
        </p:spPr>
        <p:txBody>
          <a:bodyPr/>
          <a:lstStyle/>
          <a:p>
            <a:pPr>
              <a:defRPr/>
            </a:pPr>
            <a:r>
              <a:rPr lang="en-US" altLang="ja-JP">
                <a:solidFill>
                  <a:srgbClr val="000000"/>
                </a:solidFill>
              </a:rPr>
              <a:t>Copyright 2021 FUJITSU LIMITED</a:t>
            </a:r>
            <a:endParaRPr lang="de-DE" altLang="ja-JP">
              <a:solidFill>
                <a:srgbClr val="000000"/>
              </a:solidFill>
            </a:endParaRPr>
          </a:p>
        </p:txBody>
      </p:sp>
      <p:sp>
        <p:nvSpPr>
          <p:cNvPr id="98" name="正方形/長方形 97">
            <a:extLst>
              <a:ext uri="{FF2B5EF4-FFF2-40B4-BE49-F238E27FC236}">
                <a16:creationId xmlns:a16="http://schemas.microsoft.com/office/drawing/2014/main" id="{BB6F246E-AA6B-4569-BB9F-13FA2B3AFA84}"/>
              </a:ext>
            </a:extLst>
          </p:cNvPr>
          <p:cNvSpPr/>
          <p:nvPr/>
        </p:nvSpPr>
        <p:spPr bwMode="gray">
          <a:xfrm>
            <a:off x="-1" y="1839044"/>
            <a:ext cx="9144000" cy="3105556"/>
          </a:xfrm>
          <a:prstGeom prst="rect">
            <a:avLst/>
          </a:prstGeom>
          <a:solidFill>
            <a:srgbClr val="F2F2F2"/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96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99" name="フリーフォーム: 図形 98">
            <a:extLst>
              <a:ext uri="{FF2B5EF4-FFF2-40B4-BE49-F238E27FC236}">
                <a16:creationId xmlns:a16="http://schemas.microsoft.com/office/drawing/2014/main" id="{4B332439-D88D-4BA8-86F9-3D69B96270C7}"/>
              </a:ext>
            </a:extLst>
          </p:cNvPr>
          <p:cNvSpPr/>
          <p:nvPr/>
        </p:nvSpPr>
        <p:spPr>
          <a:xfrm rot="14646670">
            <a:off x="6237444" y="1780046"/>
            <a:ext cx="234742" cy="703198"/>
          </a:xfrm>
          <a:custGeom>
            <a:avLst/>
            <a:gdLst>
              <a:gd name="connsiteX0" fmla="*/ 195538 w 239167"/>
              <a:gd name="connsiteY0" fmla="*/ 0 h 785717"/>
              <a:gd name="connsiteX1" fmla="*/ 97769 w 239167"/>
              <a:gd name="connsiteY1" fmla="*/ 352089 h 785717"/>
              <a:gd name="connsiteX2" fmla="*/ 123574 w 239167"/>
              <a:gd name="connsiteY2" fmla="*/ 548913 h 785717"/>
              <a:gd name="connsiteX3" fmla="*/ 147650 w 239167"/>
              <a:gd name="connsiteY3" fmla="*/ 615263 h 785717"/>
              <a:gd name="connsiteX4" fmla="*/ 193945 w 239167"/>
              <a:gd name="connsiteY4" fmla="*/ 544906 h 785717"/>
              <a:gd name="connsiteX5" fmla="*/ 239167 w 239167"/>
              <a:gd name="connsiteY5" fmla="*/ 785717 h 785717"/>
              <a:gd name="connsiteX6" fmla="*/ 19879 w 239167"/>
              <a:gd name="connsiteY6" fmla="*/ 670547 h 785717"/>
              <a:gd name="connsiteX7" fmla="*/ 98513 w 239167"/>
              <a:gd name="connsiteY7" fmla="*/ 651121 h 785717"/>
              <a:gd name="connsiteX8" fmla="*/ 57272 w 239167"/>
              <a:gd name="connsiteY8" fmla="*/ 601053 h 785717"/>
              <a:gd name="connsiteX9" fmla="*/ 0 w 239167"/>
              <a:gd name="connsiteY9" fmla="*/ 352089 h 785717"/>
              <a:gd name="connsiteX10" fmla="*/ 195538 w 239167"/>
              <a:gd name="connsiteY10" fmla="*/ 0 h 7857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39167" h="785717">
                <a:moveTo>
                  <a:pt x="195538" y="0"/>
                </a:moveTo>
                <a:cubicBezTo>
                  <a:pt x="133991" y="83117"/>
                  <a:pt x="97769" y="213561"/>
                  <a:pt x="97769" y="352089"/>
                </a:cubicBezTo>
                <a:cubicBezTo>
                  <a:pt x="97769" y="421353"/>
                  <a:pt x="106825" y="488596"/>
                  <a:pt x="123574" y="548913"/>
                </a:cubicBezTo>
                <a:lnTo>
                  <a:pt x="147650" y="615263"/>
                </a:lnTo>
                <a:lnTo>
                  <a:pt x="193945" y="544906"/>
                </a:lnTo>
                <a:lnTo>
                  <a:pt x="239167" y="785717"/>
                </a:lnTo>
                <a:lnTo>
                  <a:pt x="19879" y="670547"/>
                </a:lnTo>
                <a:lnTo>
                  <a:pt x="98513" y="651121"/>
                </a:lnTo>
                <a:lnTo>
                  <a:pt x="57272" y="601053"/>
                </a:lnTo>
                <a:cubicBezTo>
                  <a:pt x="21887" y="537338"/>
                  <a:pt x="0" y="449316"/>
                  <a:pt x="0" y="352089"/>
                </a:cubicBezTo>
                <a:cubicBezTo>
                  <a:pt x="0" y="157636"/>
                  <a:pt x="87545" y="0"/>
                  <a:pt x="195538" y="0"/>
                </a:cubicBezTo>
                <a:close/>
              </a:path>
            </a:pathLst>
          </a:custGeom>
          <a:solidFill>
            <a:srgbClr val="BEC8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kumimoji="1" lang="ja-JP" altLang="en-US" dirty="0" err="1">
              <a:solidFill>
                <a:schemeClr val="tx1"/>
              </a:solidFill>
            </a:endParaRPr>
          </a:p>
        </p:txBody>
      </p:sp>
      <p:sp>
        <p:nvSpPr>
          <p:cNvPr id="100" name="フリーフォーム: 図形 99">
            <a:extLst>
              <a:ext uri="{FF2B5EF4-FFF2-40B4-BE49-F238E27FC236}">
                <a16:creationId xmlns:a16="http://schemas.microsoft.com/office/drawing/2014/main" id="{C25D17BF-083D-41F6-A2CA-D195268370A6}"/>
              </a:ext>
            </a:extLst>
          </p:cNvPr>
          <p:cNvSpPr/>
          <p:nvPr/>
        </p:nvSpPr>
        <p:spPr>
          <a:xfrm rot="14646670">
            <a:off x="3315095" y="2488994"/>
            <a:ext cx="234742" cy="703198"/>
          </a:xfrm>
          <a:custGeom>
            <a:avLst/>
            <a:gdLst>
              <a:gd name="connsiteX0" fmla="*/ 195538 w 239167"/>
              <a:gd name="connsiteY0" fmla="*/ 0 h 785717"/>
              <a:gd name="connsiteX1" fmla="*/ 97769 w 239167"/>
              <a:gd name="connsiteY1" fmla="*/ 352089 h 785717"/>
              <a:gd name="connsiteX2" fmla="*/ 123574 w 239167"/>
              <a:gd name="connsiteY2" fmla="*/ 548913 h 785717"/>
              <a:gd name="connsiteX3" fmla="*/ 147650 w 239167"/>
              <a:gd name="connsiteY3" fmla="*/ 615263 h 785717"/>
              <a:gd name="connsiteX4" fmla="*/ 193945 w 239167"/>
              <a:gd name="connsiteY4" fmla="*/ 544906 h 785717"/>
              <a:gd name="connsiteX5" fmla="*/ 239167 w 239167"/>
              <a:gd name="connsiteY5" fmla="*/ 785717 h 785717"/>
              <a:gd name="connsiteX6" fmla="*/ 19879 w 239167"/>
              <a:gd name="connsiteY6" fmla="*/ 670547 h 785717"/>
              <a:gd name="connsiteX7" fmla="*/ 98513 w 239167"/>
              <a:gd name="connsiteY7" fmla="*/ 651121 h 785717"/>
              <a:gd name="connsiteX8" fmla="*/ 57272 w 239167"/>
              <a:gd name="connsiteY8" fmla="*/ 601053 h 785717"/>
              <a:gd name="connsiteX9" fmla="*/ 0 w 239167"/>
              <a:gd name="connsiteY9" fmla="*/ 352089 h 785717"/>
              <a:gd name="connsiteX10" fmla="*/ 195538 w 239167"/>
              <a:gd name="connsiteY10" fmla="*/ 0 h 7857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39167" h="785717">
                <a:moveTo>
                  <a:pt x="195538" y="0"/>
                </a:moveTo>
                <a:cubicBezTo>
                  <a:pt x="133991" y="83117"/>
                  <a:pt x="97769" y="213561"/>
                  <a:pt x="97769" y="352089"/>
                </a:cubicBezTo>
                <a:cubicBezTo>
                  <a:pt x="97769" y="421353"/>
                  <a:pt x="106825" y="488596"/>
                  <a:pt x="123574" y="548913"/>
                </a:cubicBezTo>
                <a:lnTo>
                  <a:pt x="147650" y="615263"/>
                </a:lnTo>
                <a:lnTo>
                  <a:pt x="193945" y="544906"/>
                </a:lnTo>
                <a:lnTo>
                  <a:pt x="239167" y="785717"/>
                </a:lnTo>
                <a:lnTo>
                  <a:pt x="19879" y="670547"/>
                </a:lnTo>
                <a:lnTo>
                  <a:pt x="98513" y="651121"/>
                </a:lnTo>
                <a:lnTo>
                  <a:pt x="57272" y="601053"/>
                </a:lnTo>
                <a:cubicBezTo>
                  <a:pt x="21887" y="537338"/>
                  <a:pt x="0" y="449316"/>
                  <a:pt x="0" y="352089"/>
                </a:cubicBezTo>
                <a:cubicBezTo>
                  <a:pt x="0" y="157636"/>
                  <a:pt x="87545" y="0"/>
                  <a:pt x="195538" y="0"/>
                </a:cubicBezTo>
                <a:close/>
              </a:path>
            </a:pathLst>
          </a:custGeom>
          <a:solidFill>
            <a:srgbClr val="FEC6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kumimoji="1" lang="ja-JP" altLang="en-US" dirty="0" err="1">
              <a:solidFill>
                <a:schemeClr val="tx1"/>
              </a:solidFill>
            </a:endParaRPr>
          </a:p>
        </p:txBody>
      </p:sp>
      <p:sp>
        <p:nvSpPr>
          <p:cNvPr id="101" name="四角形: 角を丸くする 100">
            <a:extLst>
              <a:ext uri="{FF2B5EF4-FFF2-40B4-BE49-F238E27FC236}">
                <a16:creationId xmlns:a16="http://schemas.microsoft.com/office/drawing/2014/main" id="{ECB4845D-43FE-4749-AB56-60279EB2E903}"/>
              </a:ext>
            </a:extLst>
          </p:cNvPr>
          <p:cNvSpPr/>
          <p:nvPr/>
        </p:nvSpPr>
        <p:spPr>
          <a:xfrm>
            <a:off x="2394548" y="3039871"/>
            <a:ext cx="1551230" cy="1850181"/>
          </a:xfrm>
          <a:prstGeom prst="roundRect">
            <a:avLst>
              <a:gd name="adj" fmla="val 6324"/>
            </a:avLst>
          </a:prstGeom>
          <a:solidFill>
            <a:schemeClr val="bg1"/>
          </a:solidFill>
          <a:ln w="381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 err="1">
              <a:solidFill>
                <a:schemeClr val="tx1"/>
              </a:solidFill>
            </a:endParaRPr>
          </a:p>
        </p:txBody>
      </p:sp>
      <p:sp>
        <p:nvSpPr>
          <p:cNvPr id="102" name="テキスト ボックス 101">
            <a:extLst>
              <a:ext uri="{FF2B5EF4-FFF2-40B4-BE49-F238E27FC236}">
                <a16:creationId xmlns:a16="http://schemas.microsoft.com/office/drawing/2014/main" id="{343895E2-2DCD-4DB1-A90A-1DCFB078564C}"/>
              </a:ext>
            </a:extLst>
          </p:cNvPr>
          <p:cNvSpPr txBox="1"/>
          <p:nvPr/>
        </p:nvSpPr>
        <p:spPr>
          <a:xfrm>
            <a:off x="2750696" y="3040050"/>
            <a:ext cx="832152" cy="276999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R="0" lvl="0" indent="0" algn="ctr" defTabSz="914400" font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1" sz="1600" b="0" i="0" u="none" strike="noStrike" cap="none" spc="20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游ゴシック" panose="020B0400000000000000" pitchFamily="50" charset="-128"/>
                <a:cs typeface="Calibri" panose="020F0502020204030204" pitchFamily="34" charset="0"/>
              </a:defRPr>
            </a:lvl1pPr>
          </a:lstStyle>
          <a:p>
            <a:r>
              <a:rPr lang="en-US" altLang="ja-JP" sz="1440" spc="3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ryout</a:t>
            </a:r>
            <a:endParaRPr lang="ja-JP" altLang="en-US" sz="1440" spc="3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03" name="正方形/長方形 102">
            <a:extLst>
              <a:ext uri="{FF2B5EF4-FFF2-40B4-BE49-F238E27FC236}">
                <a16:creationId xmlns:a16="http://schemas.microsoft.com/office/drawing/2014/main" id="{FB669349-E267-4EA5-B63D-2095C7A5DAE7}"/>
              </a:ext>
            </a:extLst>
          </p:cNvPr>
          <p:cNvSpPr/>
          <p:nvPr/>
        </p:nvSpPr>
        <p:spPr bwMode="gray">
          <a:xfrm>
            <a:off x="2259686" y="3469435"/>
            <a:ext cx="1814166" cy="564145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R="0" lvl="0" algn="ctr" defTabSz="914400" rtl="0" eaLnBrk="1" fontAlgn="ctr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tabLst/>
              <a:defRPr/>
            </a:pPr>
            <a:r>
              <a:rPr kumimoji="1" lang="en-US" altLang="ja-JP" sz="72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Yu Gothic UI Semilight" panose="020B0400000000000000" pitchFamily="50" charset="-128"/>
                <a:ea typeface="Yu Gothic UI Semilight" panose="020B0400000000000000" pitchFamily="50" charset="-128"/>
              </a:rPr>
              <a:t>Have e</a:t>
            </a:r>
            <a:r>
              <a:rPr kumimoji="1" lang="ja-JP" altLang="en-US" sz="72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Yu Gothic UI Semilight" panose="020B0400000000000000" pitchFamily="50" charset="-128"/>
                <a:ea typeface="Yu Gothic UI Semilight" panose="020B0400000000000000" pitchFamily="50" charset="-128"/>
              </a:rPr>
              <a:t>ntrepreneurship </a:t>
            </a:r>
            <a:r>
              <a:rPr kumimoji="1" lang="en-US" altLang="ja-JP" sz="72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Yu Gothic UI Semilight" panose="020B0400000000000000" pitchFamily="50" charset="-128"/>
                <a:ea typeface="Yu Gothic UI Semilight" panose="020B0400000000000000" pitchFamily="50" charset="-128"/>
              </a:rPr>
              <a:t>enough</a:t>
            </a:r>
            <a:endParaRPr kumimoji="1" lang="en-US" altLang="ja-JP" sz="90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uLnTx/>
              <a:uFillTx/>
              <a:latin typeface="Yu Gothic UI Semilight" panose="020B0400000000000000" pitchFamily="50" charset="-128"/>
              <a:ea typeface="Yu Gothic UI Semilight" panose="020B0400000000000000" pitchFamily="50" charset="-128"/>
            </a:endParaRPr>
          </a:p>
          <a:p>
            <a:pPr marR="0" lvl="0" algn="ctr" defTabSz="914400" rtl="0" eaLnBrk="1" fontAlgn="ctr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tabLst/>
              <a:defRPr/>
            </a:pPr>
            <a:r>
              <a:rPr kumimoji="1" lang="en-US" altLang="ja-JP" sz="72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Yu Gothic UI Semilight" panose="020B0400000000000000" pitchFamily="50" charset="-128"/>
                <a:ea typeface="Yu Gothic UI Semilight" panose="020B0400000000000000" pitchFamily="50" charset="-128"/>
              </a:rPr>
              <a:t>Ha</a:t>
            </a:r>
            <a:r>
              <a:rPr kumimoji="1" lang="ja-JP" altLang="en-US" sz="72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Yu Gothic UI Semilight" panose="020B0400000000000000" pitchFamily="50" charset="-128"/>
                <a:ea typeface="Yu Gothic UI Semilight" panose="020B0400000000000000" pitchFamily="50" charset="-128"/>
              </a:rPr>
              <a:t>ve a strong will to get through</a:t>
            </a:r>
            <a:endParaRPr kumimoji="1" lang="en-US" altLang="ja-JP" sz="72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uLnTx/>
              <a:uFillTx/>
              <a:latin typeface="Yu Gothic UI Semilight" panose="020B0400000000000000" pitchFamily="50" charset="-128"/>
              <a:ea typeface="Yu Gothic UI Semilight" panose="020B0400000000000000" pitchFamily="50" charset="-128"/>
            </a:endParaRPr>
          </a:p>
        </p:txBody>
      </p:sp>
      <p:grpSp>
        <p:nvGrpSpPr>
          <p:cNvPr id="104" name="グループ化 103">
            <a:extLst>
              <a:ext uri="{FF2B5EF4-FFF2-40B4-BE49-F238E27FC236}">
                <a16:creationId xmlns:a16="http://schemas.microsoft.com/office/drawing/2014/main" id="{E76D6B74-4CE3-4936-96E2-F617CD063BD0}"/>
              </a:ext>
            </a:extLst>
          </p:cNvPr>
          <p:cNvGrpSpPr/>
          <p:nvPr/>
        </p:nvGrpSpPr>
        <p:grpSpPr>
          <a:xfrm>
            <a:off x="2813771" y="4231444"/>
            <a:ext cx="326783" cy="471803"/>
            <a:chOff x="4600000" y="1229312"/>
            <a:chExt cx="387600" cy="559610"/>
          </a:xfrm>
        </p:grpSpPr>
        <p:pic>
          <p:nvPicPr>
            <p:cNvPr id="105" name="図 104">
              <a:extLst>
                <a:ext uri="{FF2B5EF4-FFF2-40B4-BE49-F238E27FC236}">
                  <a16:creationId xmlns:a16="http://schemas.microsoft.com/office/drawing/2014/main" id="{4AC1E58E-560B-48C6-98F0-97FAB75A42C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14737" t="2773" r="18950" b="18950"/>
            <a:stretch/>
          </p:blipFill>
          <p:spPr>
            <a:xfrm>
              <a:off x="4600000" y="1229312"/>
              <a:ext cx="387600" cy="457530"/>
            </a:xfrm>
            <a:prstGeom prst="ellipse">
              <a:avLst/>
            </a:prstGeom>
          </p:spPr>
        </p:pic>
        <p:sp>
          <p:nvSpPr>
            <p:cNvPr id="106" name="正方形/長方形 105">
              <a:extLst>
                <a:ext uri="{FF2B5EF4-FFF2-40B4-BE49-F238E27FC236}">
                  <a16:creationId xmlns:a16="http://schemas.microsoft.com/office/drawing/2014/main" id="{603A3F22-2B49-4B4A-A8BC-84A43E9D0B6B}"/>
                </a:ext>
              </a:extLst>
            </p:cNvPr>
            <p:cNvSpPr/>
            <p:nvPr/>
          </p:nvSpPr>
          <p:spPr bwMode="gray">
            <a:xfrm>
              <a:off x="4602789" y="1651401"/>
              <a:ext cx="382024" cy="137521"/>
            </a:xfrm>
            <a:prstGeom prst="rect">
              <a:avLst/>
            </a:prstGeom>
            <a:noFill/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ctr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32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Yu Gothic UI Semilight" panose="020B0400000000000000" pitchFamily="50" charset="-128"/>
                  <a:ea typeface="Yu Gothic UI Semilight" panose="020B0400000000000000" pitchFamily="50" charset="-128"/>
                </a:rPr>
                <a:t>CDXO Assistant</a:t>
              </a:r>
              <a:endParaRPr kumimoji="1" lang="en-US" altLang="ja-JP" sz="48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Yu Gothic UI Semilight" panose="020B0400000000000000" pitchFamily="50" charset="-128"/>
                <a:ea typeface="Yu Gothic UI Semilight" panose="020B0400000000000000" pitchFamily="50" charset="-128"/>
              </a:endParaRPr>
            </a:p>
            <a:p>
              <a:pPr marL="0" marR="0" lvl="0" indent="0" algn="ctr" defTabSz="914400" rtl="0" eaLnBrk="1" fontAlgn="ctr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400" dirty="0">
                  <a:solidFill>
                    <a:srgbClr val="000000"/>
                  </a:solidFill>
                  <a:latin typeface="Yu Gothic UI Semilight" panose="020B0400000000000000" pitchFamily="50" charset="-128"/>
                  <a:ea typeface="Yu Gothic UI Semilight" panose="020B0400000000000000" pitchFamily="50" charset="-128"/>
                </a:rPr>
                <a:t>Corp.</a:t>
              </a:r>
              <a:r>
                <a:rPr kumimoji="1" lang="ja-JP" altLang="en-US" sz="400" dirty="0">
                  <a:solidFill>
                    <a:srgbClr val="000000"/>
                  </a:solidFill>
                  <a:latin typeface="Yu Gothic UI Semilight" panose="020B0400000000000000" pitchFamily="50" charset="-128"/>
                  <a:ea typeface="Yu Gothic UI Semilight" panose="020B0400000000000000" pitchFamily="50" charset="-128"/>
                </a:rPr>
                <a:t> </a:t>
              </a:r>
              <a:r>
                <a:rPr kumimoji="1" lang="en-US" altLang="ja-JP" sz="400" dirty="0">
                  <a:solidFill>
                    <a:srgbClr val="000000"/>
                  </a:solidFill>
                  <a:latin typeface="Yu Gothic UI Semilight" panose="020B0400000000000000" pitchFamily="50" charset="-128"/>
                  <a:ea typeface="Yu Gothic UI Semilight" panose="020B0400000000000000" pitchFamily="50" charset="-128"/>
                </a:rPr>
                <a:t>executive</a:t>
              </a:r>
            </a:p>
            <a:p>
              <a:pPr marL="0" marR="0" lvl="0" indent="0" algn="ctr" defTabSz="914400" rtl="0" eaLnBrk="1" fontAlgn="ctr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400" dirty="0">
                  <a:solidFill>
                    <a:srgbClr val="000000"/>
                  </a:solidFill>
                  <a:latin typeface="Yu Gothic UI Semilight" panose="020B0400000000000000" pitchFamily="50" charset="-128"/>
                  <a:ea typeface="Yu Gothic UI Semilight" panose="020B0400000000000000" pitchFamily="50" charset="-128"/>
                </a:rPr>
                <a:t>Officer</a:t>
              </a:r>
            </a:p>
            <a:p>
              <a:pPr marL="0" marR="0" lvl="0" indent="0" algn="ctr" defTabSz="914400" rtl="0" eaLnBrk="1" fontAlgn="ctr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ja-JP" altLang="en-US" sz="480" dirty="0">
                  <a:solidFill>
                    <a:srgbClr val="000000"/>
                  </a:solidFill>
                  <a:latin typeface="Yu Gothic UI Semilight" panose="020B0400000000000000" pitchFamily="50" charset="-128"/>
                  <a:ea typeface="Yu Gothic UI Semilight" panose="020B0400000000000000" pitchFamily="50" charset="-128"/>
                </a:rPr>
                <a:t>Fukuda</a:t>
              </a:r>
              <a:endParaRPr kumimoji="1" lang="ja-JP" altLang="en-US" sz="48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Yu Gothic UI Semilight" panose="020B0400000000000000" pitchFamily="50" charset="-128"/>
                <a:ea typeface="Yu Gothic UI Semilight" panose="020B0400000000000000" pitchFamily="50" charset="-128"/>
              </a:endParaRPr>
            </a:p>
          </p:txBody>
        </p:sp>
      </p:grpSp>
      <p:grpSp>
        <p:nvGrpSpPr>
          <p:cNvPr id="107" name="グループ化 106">
            <a:extLst>
              <a:ext uri="{FF2B5EF4-FFF2-40B4-BE49-F238E27FC236}">
                <a16:creationId xmlns:a16="http://schemas.microsoft.com/office/drawing/2014/main" id="{2FC98FF7-4850-48E3-AB7F-1F11D065C832}"/>
              </a:ext>
            </a:extLst>
          </p:cNvPr>
          <p:cNvGrpSpPr/>
          <p:nvPr/>
        </p:nvGrpSpPr>
        <p:grpSpPr>
          <a:xfrm>
            <a:off x="2452409" y="4231726"/>
            <a:ext cx="326783" cy="470496"/>
            <a:chOff x="3569919" y="1220330"/>
            <a:chExt cx="387600" cy="558060"/>
          </a:xfrm>
        </p:grpSpPr>
        <p:pic>
          <p:nvPicPr>
            <p:cNvPr id="108" name="図 107">
              <a:extLst>
                <a:ext uri="{FF2B5EF4-FFF2-40B4-BE49-F238E27FC236}">
                  <a16:creationId xmlns:a16="http://schemas.microsoft.com/office/drawing/2014/main" id="{1F83A454-C75C-4851-B990-79F0727F161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4825" r="12396"/>
            <a:stretch/>
          </p:blipFill>
          <p:spPr>
            <a:xfrm>
              <a:off x="3569919" y="1220330"/>
              <a:ext cx="387600" cy="468236"/>
            </a:xfrm>
            <a:prstGeom prst="ellipse">
              <a:avLst/>
            </a:prstGeom>
          </p:spPr>
        </p:pic>
        <p:sp>
          <p:nvSpPr>
            <p:cNvPr id="109" name="正方形/長方形 108">
              <a:extLst>
                <a:ext uri="{FF2B5EF4-FFF2-40B4-BE49-F238E27FC236}">
                  <a16:creationId xmlns:a16="http://schemas.microsoft.com/office/drawing/2014/main" id="{52DBA4AB-58B0-4CD8-9CD6-A1069E8010DE}"/>
                </a:ext>
              </a:extLst>
            </p:cNvPr>
            <p:cNvSpPr/>
            <p:nvPr/>
          </p:nvSpPr>
          <p:spPr bwMode="gray">
            <a:xfrm>
              <a:off x="3572708" y="1640869"/>
              <a:ext cx="382024" cy="137521"/>
            </a:xfrm>
            <a:prstGeom prst="rect">
              <a:avLst/>
            </a:prstGeom>
            <a:noFill/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ctr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ja-JP" altLang="en-US" sz="320" dirty="0">
                  <a:solidFill>
                    <a:srgbClr val="000000"/>
                  </a:solidFill>
                  <a:latin typeface="Yu Gothic UI Semilight" panose="020B0400000000000000" pitchFamily="50" charset="-128"/>
                  <a:ea typeface="Yu Gothic UI Semilight" panose="020B0400000000000000" pitchFamily="50" charset="-128"/>
                </a:rPr>
                <a:t>program supervision</a:t>
              </a:r>
              <a:endParaRPr kumimoji="1" lang="en-US" altLang="ja-JP" sz="32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Yu Gothic UI Semilight" panose="020B0400000000000000" pitchFamily="50" charset="-128"/>
                <a:ea typeface="Yu Gothic UI Semilight" panose="020B0400000000000000" pitchFamily="50" charset="-128"/>
              </a:endParaRPr>
            </a:p>
            <a:p>
              <a:pPr marL="0" marR="0" lvl="0" indent="0" algn="ctr" defTabSz="914400" rtl="0" eaLnBrk="1" fontAlgn="ctr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ja-JP" altLang="en-US" sz="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Yu Gothic UI Semilight" panose="020B0400000000000000" pitchFamily="50" charset="-128"/>
                  <a:ea typeface="Yu Gothic UI Semilight" panose="020B0400000000000000" pitchFamily="50" charset="-128"/>
                </a:rPr>
                <a:t>Associate</a:t>
              </a:r>
              <a:endParaRPr kumimoji="1" lang="en-US" altLang="ja-JP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Yu Gothic UI Semilight" panose="020B0400000000000000" pitchFamily="50" charset="-128"/>
                <a:ea typeface="Yu Gothic UI Semilight" panose="020B0400000000000000" pitchFamily="50" charset="-128"/>
              </a:endParaRPr>
            </a:p>
            <a:p>
              <a:pPr marL="0" marR="0" lvl="0" indent="0" algn="ctr" defTabSz="914400" rtl="0" eaLnBrk="1" fontAlgn="ctr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ja-JP" altLang="en-US" sz="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Yu Gothic UI Semilight" panose="020B0400000000000000" pitchFamily="50" charset="-128"/>
                  <a:ea typeface="Yu Gothic UI Semilight" panose="020B0400000000000000" pitchFamily="50" charset="-128"/>
                </a:rPr>
                <a:t>Professor</a:t>
              </a:r>
              <a:endParaRPr kumimoji="1" lang="en-US" altLang="ja-JP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Yu Gothic UI Semilight" panose="020B0400000000000000" pitchFamily="50" charset="-128"/>
                <a:ea typeface="Yu Gothic UI Semilight" panose="020B0400000000000000" pitchFamily="50" charset="-128"/>
              </a:endParaRPr>
            </a:p>
            <a:p>
              <a:pPr marL="0" marR="0" lvl="0" indent="0" algn="ctr" defTabSz="914400" rtl="0" eaLnBrk="1" fontAlgn="ctr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ja-JP" altLang="en-US" sz="48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Yu Gothic UI Semilight" panose="020B0400000000000000" pitchFamily="50" charset="-128"/>
                  <a:ea typeface="Yu Gothic UI Semilight" panose="020B0400000000000000" pitchFamily="50" charset="-128"/>
                </a:rPr>
                <a:t>Yamakawa</a:t>
              </a:r>
            </a:p>
          </p:txBody>
        </p:sp>
      </p:grpSp>
      <p:grpSp>
        <p:nvGrpSpPr>
          <p:cNvPr id="110" name="グループ化 109">
            <a:extLst>
              <a:ext uri="{FF2B5EF4-FFF2-40B4-BE49-F238E27FC236}">
                <a16:creationId xmlns:a16="http://schemas.microsoft.com/office/drawing/2014/main" id="{2D241974-1ABA-4E70-B7E2-97903E46734E}"/>
              </a:ext>
            </a:extLst>
          </p:cNvPr>
          <p:cNvGrpSpPr/>
          <p:nvPr/>
        </p:nvGrpSpPr>
        <p:grpSpPr>
          <a:xfrm>
            <a:off x="3093327" y="4235340"/>
            <a:ext cx="519694" cy="687803"/>
            <a:chOff x="3992831" y="1227826"/>
            <a:chExt cx="616415" cy="815812"/>
          </a:xfrm>
        </p:grpSpPr>
        <p:pic>
          <p:nvPicPr>
            <p:cNvPr id="111" name="図 110">
              <a:extLst>
                <a:ext uri="{FF2B5EF4-FFF2-40B4-BE49-F238E27FC236}">
                  <a16:creationId xmlns:a16="http://schemas.microsoft.com/office/drawing/2014/main" id="{BBC26B9B-D3AD-41C3-892D-4A2EF54CB1C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12302" t="575" r="30106" b="4922"/>
            <a:stretch/>
          </p:blipFill>
          <p:spPr>
            <a:xfrm>
              <a:off x="4121485" y="1227826"/>
              <a:ext cx="382024" cy="455350"/>
            </a:xfrm>
            <a:prstGeom prst="ellipse">
              <a:avLst/>
            </a:prstGeom>
          </p:spPr>
        </p:pic>
        <p:sp>
          <p:nvSpPr>
            <p:cNvPr id="112" name="テキスト ボックス 111">
              <a:extLst>
                <a:ext uri="{FF2B5EF4-FFF2-40B4-BE49-F238E27FC236}">
                  <a16:creationId xmlns:a16="http://schemas.microsoft.com/office/drawing/2014/main" id="{D103DECF-6D69-419D-8D72-ADC14BC0CBBD}"/>
                </a:ext>
              </a:extLst>
            </p:cNvPr>
            <p:cNvSpPr txBox="1"/>
            <p:nvPr/>
          </p:nvSpPr>
          <p:spPr>
            <a:xfrm>
              <a:off x="3992831" y="1642076"/>
              <a:ext cx="616415" cy="401562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marL="0" marR="0" lvl="0" indent="0" algn="ctr" defTabSz="914400" rtl="0" eaLnBrk="1" fontAlgn="ctr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32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Yu Gothic UI Semilight" panose="020B0400000000000000" pitchFamily="50" charset="-128"/>
                  <a:ea typeface="Yu Gothic UI Semilight" panose="020B0400000000000000" pitchFamily="50" charset="-128"/>
                </a:rPr>
                <a:t>M &amp; A/CVC</a:t>
              </a:r>
            </a:p>
            <a:p>
              <a:pPr marL="0" marR="0" lvl="0" indent="0" algn="ctr" defTabSz="914400" rtl="0" eaLnBrk="1" fontAlgn="ctr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400" dirty="0">
                  <a:solidFill>
                    <a:srgbClr val="000000"/>
                  </a:solidFill>
                  <a:latin typeface="Yu Gothic UI Semilight" panose="020B0400000000000000" pitchFamily="50" charset="-128"/>
                  <a:ea typeface="Yu Gothic UI Semilight" panose="020B0400000000000000" pitchFamily="50" charset="-128"/>
                </a:rPr>
                <a:t>Corp.</a:t>
              </a:r>
              <a:r>
                <a:rPr kumimoji="1" lang="ja-JP" altLang="en-US" sz="400" dirty="0">
                  <a:solidFill>
                    <a:srgbClr val="000000"/>
                  </a:solidFill>
                  <a:latin typeface="Yu Gothic UI Semilight" panose="020B0400000000000000" pitchFamily="50" charset="-128"/>
                  <a:ea typeface="Yu Gothic UI Semilight" panose="020B0400000000000000" pitchFamily="50" charset="-128"/>
                </a:rPr>
                <a:t> </a:t>
              </a:r>
              <a:r>
                <a:rPr kumimoji="1" lang="en-US" altLang="ja-JP" sz="400" dirty="0">
                  <a:solidFill>
                    <a:srgbClr val="000000"/>
                  </a:solidFill>
                  <a:latin typeface="Yu Gothic UI Semilight" panose="020B0400000000000000" pitchFamily="50" charset="-128"/>
                  <a:ea typeface="Yu Gothic UI Semilight" panose="020B0400000000000000" pitchFamily="50" charset="-128"/>
                </a:rPr>
                <a:t>executive</a:t>
              </a:r>
            </a:p>
            <a:p>
              <a:pPr marL="0" marR="0" lvl="0" indent="0" algn="ctr" defTabSz="914400" rtl="0" eaLnBrk="1" fontAlgn="ctr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400" dirty="0">
                  <a:solidFill>
                    <a:srgbClr val="000000"/>
                  </a:solidFill>
                  <a:latin typeface="Yu Gothic UI Semilight" panose="020B0400000000000000" pitchFamily="50" charset="-128"/>
                  <a:ea typeface="Yu Gothic UI Semilight" panose="020B0400000000000000" pitchFamily="50" charset="-128"/>
                </a:rPr>
                <a:t>Officer</a:t>
              </a:r>
              <a:endParaRPr kumimoji="1" lang="en-US" altLang="ja-JP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Yu Gothic UI Semilight" panose="020B0400000000000000" pitchFamily="50" charset="-128"/>
                <a:ea typeface="Yu Gothic UI Semilight" panose="020B0400000000000000" pitchFamily="50" charset="-128"/>
              </a:endParaRPr>
            </a:p>
            <a:p>
              <a:pPr marL="0" marR="0" lvl="0" indent="0" algn="ctr" defTabSz="914400" rtl="0" eaLnBrk="1" fontAlgn="ctr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48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Yu Gothic UI Semilight" panose="020B0400000000000000" pitchFamily="50" charset="-128"/>
                  <a:ea typeface="Yu Gothic UI Semilight" panose="020B0400000000000000" pitchFamily="50" charset="-128"/>
                </a:rPr>
                <a:t>Nicolas</a:t>
              </a:r>
            </a:p>
          </p:txBody>
        </p:sp>
      </p:grpSp>
      <p:grpSp>
        <p:nvGrpSpPr>
          <p:cNvPr id="113" name="グループ化 112">
            <a:extLst>
              <a:ext uri="{FF2B5EF4-FFF2-40B4-BE49-F238E27FC236}">
                <a16:creationId xmlns:a16="http://schemas.microsoft.com/office/drawing/2014/main" id="{6978DF06-D00B-4FD0-B5A6-39677752A4EC}"/>
              </a:ext>
            </a:extLst>
          </p:cNvPr>
          <p:cNvGrpSpPr/>
          <p:nvPr/>
        </p:nvGrpSpPr>
        <p:grpSpPr>
          <a:xfrm>
            <a:off x="3580512" y="4233505"/>
            <a:ext cx="323237" cy="548876"/>
            <a:chOff x="3580512" y="4265348"/>
            <a:chExt cx="323237" cy="548876"/>
          </a:xfrm>
        </p:grpSpPr>
        <p:sp>
          <p:nvSpPr>
            <p:cNvPr id="114" name="正方形/長方形 113">
              <a:extLst>
                <a:ext uri="{FF2B5EF4-FFF2-40B4-BE49-F238E27FC236}">
                  <a16:creationId xmlns:a16="http://schemas.microsoft.com/office/drawing/2014/main" id="{64C4A909-3030-4E66-A939-2C57E69AFC9F}"/>
                </a:ext>
              </a:extLst>
            </p:cNvPr>
            <p:cNvSpPr/>
            <p:nvPr/>
          </p:nvSpPr>
          <p:spPr bwMode="gray">
            <a:xfrm>
              <a:off x="3581668" y="4698281"/>
              <a:ext cx="322081" cy="115943"/>
            </a:xfrm>
            <a:prstGeom prst="rect">
              <a:avLst/>
            </a:prstGeom>
            <a:noFill/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ctr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32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Yu Gothic UI Semilight" panose="020B0400000000000000" pitchFamily="50" charset="-128"/>
                  <a:ea typeface="Yu Gothic UI Semilight" panose="020B0400000000000000" pitchFamily="50" charset="-128"/>
                </a:rPr>
                <a:t>CVC/Entrepreneur</a:t>
              </a:r>
              <a:endParaRPr kumimoji="1" lang="en-US" altLang="ja-JP" sz="48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Yu Gothic UI Semilight" panose="020B0400000000000000" pitchFamily="50" charset="-128"/>
                <a:ea typeface="Yu Gothic UI Semilight" panose="020B0400000000000000" pitchFamily="50" charset="-128"/>
              </a:endParaRPr>
            </a:p>
            <a:p>
              <a:pPr marL="0" marR="0" lvl="0" indent="0" algn="ctr" defTabSz="914400" rtl="0" eaLnBrk="1" fontAlgn="ctr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48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Yu Gothic UI Semilight" panose="020B0400000000000000" pitchFamily="50" charset="-128"/>
                  <a:ea typeface="Yu Gothic UI Semilight" panose="020B0400000000000000" pitchFamily="50" charset="-128"/>
                </a:rPr>
                <a:t>External</a:t>
              </a:r>
            </a:p>
            <a:p>
              <a:pPr marL="0" marR="0" lvl="0" indent="0" algn="ctr" defTabSz="914400" rtl="0" eaLnBrk="1" fontAlgn="ctr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48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Yu Gothic UI Semilight" panose="020B0400000000000000" pitchFamily="50" charset="-128"/>
                  <a:ea typeface="Yu Gothic UI Semilight" panose="020B0400000000000000" pitchFamily="50" charset="-128"/>
                </a:rPr>
                <a:t>E</a:t>
              </a:r>
              <a:r>
                <a:rPr kumimoji="1" lang="ja-JP" altLang="en-US" sz="48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Yu Gothic UI Semilight" panose="020B0400000000000000" pitchFamily="50" charset="-128"/>
                  <a:ea typeface="Yu Gothic UI Semilight" panose="020B0400000000000000" pitchFamily="50" charset="-128"/>
                </a:rPr>
                <a:t>xpert</a:t>
              </a:r>
            </a:p>
          </p:txBody>
        </p:sp>
        <p:grpSp>
          <p:nvGrpSpPr>
            <p:cNvPr id="115" name="グループ化 114">
              <a:extLst>
                <a:ext uri="{FF2B5EF4-FFF2-40B4-BE49-F238E27FC236}">
                  <a16:creationId xmlns:a16="http://schemas.microsoft.com/office/drawing/2014/main" id="{C3BE1344-FE7E-4A53-A01A-2B74D6546DAD}"/>
                </a:ext>
              </a:extLst>
            </p:cNvPr>
            <p:cNvGrpSpPr/>
            <p:nvPr/>
          </p:nvGrpSpPr>
          <p:grpSpPr>
            <a:xfrm>
              <a:off x="3580512" y="4265348"/>
              <a:ext cx="315689" cy="385740"/>
              <a:chOff x="4574101" y="4364616"/>
              <a:chExt cx="315689" cy="385740"/>
            </a:xfrm>
          </p:grpSpPr>
          <p:sp>
            <p:nvSpPr>
              <p:cNvPr id="116" name="楕円 115">
                <a:extLst>
                  <a:ext uri="{FF2B5EF4-FFF2-40B4-BE49-F238E27FC236}">
                    <a16:creationId xmlns:a16="http://schemas.microsoft.com/office/drawing/2014/main" id="{6BEB0499-A554-4892-ADC6-0591CBD963F4}"/>
                  </a:ext>
                </a:extLst>
              </p:cNvPr>
              <p:cNvSpPr/>
              <p:nvPr/>
            </p:nvSpPr>
            <p:spPr>
              <a:xfrm>
                <a:off x="4574101" y="4364616"/>
                <a:ext cx="315689" cy="385740"/>
              </a:xfrm>
              <a:prstGeom prst="ellipse">
                <a:avLst/>
              </a:prstGeom>
              <a:solidFill>
                <a:schemeClr val="bg1">
                  <a:lumMod val="85000"/>
                </a:schemeClr>
              </a:solidFill>
              <a:ln w="9525"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17" name="フリーフォーム: 図形 116">
                <a:extLst>
                  <a:ext uri="{FF2B5EF4-FFF2-40B4-BE49-F238E27FC236}">
                    <a16:creationId xmlns:a16="http://schemas.microsoft.com/office/drawing/2014/main" id="{AA60DAB5-CF8E-47D7-9D03-8E4C0CA15C90}"/>
                  </a:ext>
                </a:extLst>
              </p:cNvPr>
              <p:cNvSpPr/>
              <p:nvPr/>
            </p:nvSpPr>
            <p:spPr>
              <a:xfrm>
                <a:off x="4632514" y="4620270"/>
                <a:ext cx="194960" cy="114522"/>
              </a:xfrm>
              <a:custGeom>
                <a:avLst/>
                <a:gdLst>
                  <a:gd name="connsiteX0" fmla="*/ 53818 w 194960"/>
                  <a:gd name="connsiteY0" fmla="*/ 0 h 114522"/>
                  <a:gd name="connsiteX1" fmla="*/ 141142 w 194960"/>
                  <a:gd name="connsiteY1" fmla="*/ 0 h 114522"/>
                  <a:gd name="connsiteX2" fmla="*/ 194960 w 194960"/>
                  <a:gd name="connsiteY2" fmla="*/ 53818 h 114522"/>
                  <a:gd name="connsiteX3" fmla="*/ 194960 w 194960"/>
                  <a:gd name="connsiteY3" fmla="*/ 79884 h 114522"/>
                  <a:gd name="connsiteX4" fmla="*/ 160551 w 194960"/>
                  <a:gd name="connsiteY4" fmla="*/ 108231 h 114522"/>
                  <a:gd name="connsiteX5" fmla="*/ 135047 w 194960"/>
                  <a:gd name="connsiteY5" fmla="*/ 114522 h 114522"/>
                  <a:gd name="connsiteX6" fmla="*/ 63175 w 194960"/>
                  <a:gd name="connsiteY6" fmla="*/ 114522 h 114522"/>
                  <a:gd name="connsiteX7" fmla="*/ 37671 w 194960"/>
                  <a:gd name="connsiteY7" fmla="*/ 108231 h 114522"/>
                  <a:gd name="connsiteX8" fmla="*/ 0 w 194960"/>
                  <a:gd name="connsiteY8" fmla="*/ 77196 h 114522"/>
                  <a:gd name="connsiteX9" fmla="*/ 0 w 194960"/>
                  <a:gd name="connsiteY9" fmla="*/ 53818 h 114522"/>
                  <a:gd name="connsiteX10" fmla="*/ 53818 w 194960"/>
                  <a:gd name="connsiteY10" fmla="*/ 0 h 1145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94960" h="114522">
                    <a:moveTo>
                      <a:pt x="53818" y="0"/>
                    </a:moveTo>
                    <a:lnTo>
                      <a:pt x="141142" y="0"/>
                    </a:lnTo>
                    <a:cubicBezTo>
                      <a:pt x="170865" y="0"/>
                      <a:pt x="194960" y="24095"/>
                      <a:pt x="194960" y="53818"/>
                    </a:cubicBezTo>
                    <a:lnTo>
                      <a:pt x="194960" y="79884"/>
                    </a:lnTo>
                    <a:lnTo>
                      <a:pt x="160551" y="108231"/>
                    </a:lnTo>
                    <a:lnTo>
                      <a:pt x="135047" y="114522"/>
                    </a:lnTo>
                    <a:lnTo>
                      <a:pt x="63175" y="114522"/>
                    </a:lnTo>
                    <a:lnTo>
                      <a:pt x="37671" y="108231"/>
                    </a:lnTo>
                    <a:lnTo>
                      <a:pt x="0" y="77196"/>
                    </a:lnTo>
                    <a:lnTo>
                      <a:pt x="0" y="53818"/>
                    </a:lnTo>
                    <a:cubicBezTo>
                      <a:pt x="0" y="24095"/>
                      <a:pt x="24095" y="0"/>
                      <a:pt x="53818" y="0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kumimoji="1" lang="ja-JP" alt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18" name="楕円 117">
                <a:extLst>
                  <a:ext uri="{FF2B5EF4-FFF2-40B4-BE49-F238E27FC236}">
                    <a16:creationId xmlns:a16="http://schemas.microsoft.com/office/drawing/2014/main" id="{3F1EB9CD-8379-4DB3-8295-BAAA9B839A96}"/>
                  </a:ext>
                </a:extLst>
              </p:cNvPr>
              <p:cNvSpPr/>
              <p:nvPr/>
            </p:nvSpPr>
            <p:spPr>
              <a:xfrm>
                <a:off x="4663222" y="4420856"/>
                <a:ext cx="134057" cy="176216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 dirty="0" err="1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119" name="正方形/長方形 118">
            <a:extLst>
              <a:ext uri="{FF2B5EF4-FFF2-40B4-BE49-F238E27FC236}">
                <a16:creationId xmlns:a16="http://schemas.microsoft.com/office/drawing/2014/main" id="{6963C286-123C-4FC3-BE35-325E2D6E40BF}"/>
              </a:ext>
            </a:extLst>
          </p:cNvPr>
          <p:cNvSpPr/>
          <p:nvPr/>
        </p:nvSpPr>
        <p:spPr bwMode="gray">
          <a:xfrm>
            <a:off x="2842452" y="4051690"/>
            <a:ext cx="648635" cy="179754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R="0" lvl="0" algn="ctr" defTabSz="914400" rtl="0" eaLnBrk="1" fontAlgn="ctr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1" lang="en-US" altLang="ja-JP" sz="720" dirty="0">
                <a:solidFill>
                  <a:schemeClr val="tx1">
                    <a:lumMod val="65000"/>
                    <a:lumOff val="35000"/>
                  </a:schemeClr>
                </a:solidFill>
                <a:latin typeface="Yu Gothic UI Semibold" panose="020B0700000000000000" pitchFamily="50" charset="-128"/>
                <a:ea typeface="Yu Gothic UI Semibold" panose="020B0700000000000000" pitchFamily="50" charset="-128"/>
              </a:rPr>
              <a:t>A</a:t>
            </a:r>
            <a:r>
              <a:rPr kumimoji="1" lang="ja-JP" altLang="en-US" sz="72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Yu Gothic UI Semibold" panose="020B0700000000000000" pitchFamily="50" charset="-128"/>
                <a:ea typeface="Yu Gothic UI Semibold" panose="020B0700000000000000" pitchFamily="50" charset="-128"/>
              </a:rPr>
              <a:t>uditor</a:t>
            </a:r>
            <a:r>
              <a:rPr kumimoji="1" lang="en-US" altLang="ja-JP" sz="72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Yu Gothic UI Semibold" panose="020B0700000000000000" pitchFamily="50" charset="-128"/>
                <a:ea typeface="Yu Gothic UI Semibold" panose="020B0700000000000000" pitchFamily="50" charset="-128"/>
              </a:rPr>
              <a:t>s</a:t>
            </a:r>
          </a:p>
        </p:txBody>
      </p:sp>
      <p:sp>
        <p:nvSpPr>
          <p:cNvPr id="120" name="正方形/長方形 119">
            <a:extLst>
              <a:ext uri="{FF2B5EF4-FFF2-40B4-BE49-F238E27FC236}">
                <a16:creationId xmlns:a16="http://schemas.microsoft.com/office/drawing/2014/main" id="{D602815E-C4CD-42EC-8225-62D63C6045AE}"/>
              </a:ext>
            </a:extLst>
          </p:cNvPr>
          <p:cNvSpPr/>
          <p:nvPr/>
        </p:nvSpPr>
        <p:spPr bwMode="gray">
          <a:xfrm>
            <a:off x="2794224" y="3387792"/>
            <a:ext cx="784849" cy="179754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R="0" lvl="0" algn="ctr" defTabSz="914400" rtl="0" eaLnBrk="1" fontAlgn="ctr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1" lang="en-US" altLang="ja-JP" sz="72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Yu Gothic UI Semibold" panose="020B0700000000000000" pitchFamily="50" charset="-128"/>
                <a:ea typeface="Yu Gothic UI Semibold" panose="020B0700000000000000" pitchFamily="50" charset="-128"/>
              </a:rPr>
              <a:t>Requirement</a:t>
            </a:r>
          </a:p>
        </p:txBody>
      </p:sp>
      <p:sp>
        <p:nvSpPr>
          <p:cNvPr id="121" name="四角形: 角を丸くする 120">
            <a:extLst>
              <a:ext uri="{FF2B5EF4-FFF2-40B4-BE49-F238E27FC236}">
                <a16:creationId xmlns:a16="http://schemas.microsoft.com/office/drawing/2014/main" id="{BC74DE78-2892-4551-BE47-11E5E3998A36}"/>
              </a:ext>
            </a:extLst>
          </p:cNvPr>
          <p:cNvSpPr/>
          <p:nvPr/>
        </p:nvSpPr>
        <p:spPr>
          <a:xfrm>
            <a:off x="5313352" y="2315949"/>
            <a:ext cx="1551600" cy="2574103"/>
          </a:xfrm>
          <a:prstGeom prst="roundRect">
            <a:avLst>
              <a:gd name="adj" fmla="val 6324"/>
            </a:avLst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 err="1">
              <a:solidFill>
                <a:schemeClr val="tx1"/>
              </a:solidFill>
            </a:endParaRPr>
          </a:p>
        </p:txBody>
      </p:sp>
      <p:sp>
        <p:nvSpPr>
          <p:cNvPr id="122" name="テキスト ボックス 121">
            <a:extLst>
              <a:ext uri="{FF2B5EF4-FFF2-40B4-BE49-F238E27FC236}">
                <a16:creationId xmlns:a16="http://schemas.microsoft.com/office/drawing/2014/main" id="{91133587-44A2-42F2-9EBF-190154C64FB6}"/>
              </a:ext>
            </a:extLst>
          </p:cNvPr>
          <p:cNvSpPr txBox="1"/>
          <p:nvPr/>
        </p:nvSpPr>
        <p:spPr>
          <a:xfrm>
            <a:off x="5749609" y="2350938"/>
            <a:ext cx="667170" cy="276999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R="0" lvl="0" indent="0" algn="ctr" defTabSz="914400" font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1" sz="1600" b="0" i="0" u="none" strike="noStrike" cap="none" spc="20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游ゴシック" panose="020B0400000000000000" pitchFamily="50" charset="-128"/>
                <a:cs typeface="Calibri" panose="020F0502020204030204" pitchFamily="34" charset="0"/>
              </a:defRPr>
            </a:lvl1pPr>
          </a:lstStyle>
          <a:p>
            <a:r>
              <a:rPr lang="en-US" altLang="ja-JP" sz="1440" spc="3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raft</a:t>
            </a:r>
            <a:endParaRPr lang="ja-JP" altLang="en-US" sz="1440" spc="3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23" name="正方形/長方形 122">
            <a:extLst>
              <a:ext uri="{FF2B5EF4-FFF2-40B4-BE49-F238E27FC236}">
                <a16:creationId xmlns:a16="http://schemas.microsoft.com/office/drawing/2014/main" id="{8733193A-7D5D-48F9-8F88-04CBA9A5F689}"/>
              </a:ext>
            </a:extLst>
          </p:cNvPr>
          <p:cNvSpPr/>
          <p:nvPr/>
        </p:nvSpPr>
        <p:spPr bwMode="gray">
          <a:xfrm>
            <a:off x="5176107" y="2813117"/>
            <a:ext cx="1814166" cy="564145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R="0" lvl="0" algn="ctr" defTabSz="914400" rtl="0" eaLnBrk="1" fontAlgn="ctr" latinLnBrk="0" hangingPunct="1">
              <a:lnSpc>
                <a:spcPct val="100000"/>
              </a:lnSpc>
              <a:spcBef>
                <a:spcPct val="0"/>
              </a:spcBef>
              <a:buClrTx/>
              <a:buSzTx/>
              <a:tabLst/>
              <a:defRPr/>
            </a:pPr>
            <a:r>
              <a:rPr kumimoji="1" lang="en-US" altLang="ja-JP" sz="720" dirty="0">
                <a:solidFill>
                  <a:schemeClr val="tx1">
                    <a:lumMod val="65000"/>
                    <a:lumOff val="35000"/>
                  </a:schemeClr>
                </a:solidFill>
                <a:latin typeface="Yu Gothic UI Semilight" panose="020B0400000000000000" pitchFamily="50" charset="-128"/>
                <a:ea typeface="Yu Gothic UI Semilight" panose="020B0400000000000000" pitchFamily="50" charset="-128"/>
              </a:rPr>
              <a:t>E</a:t>
            </a:r>
            <a:r>
              <a:rPr kumimoji="1" lang="ja-JP" altLang="en-US" sz="72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Yu Gothic UI Semilight" panose="020B0400000000000000" pitchFamily="50" charset="-128"/>
                <a:ea typeface="Yu Gothic UI Semilight" panose="020B0400000000000000" pitchFamily="50" charset="-128"/>
              </a:rPr>
              <a:t>xpect growth in the future</a:t>
            </a:r>
          </a:p>
          <a:p>
            <a:pPr marR="0" lvl="0" algn="ctr" defTabSz="914400" rtl="0" eaLnBrk="1" fontAlgn="ctr" latinLnBrk="0" hangingPunct="1">
              <a:lnSpc>
                <a:spcPct val="100000"/>
              </a:lnSpc>
              <a:spcBef>
                <a:spcPct val="0"/>
              </a:spcBef>
              <a:buClrTx/>
              <a:buSzTx/>
              <a:tabLst/>
              <a:defRPr/>
            </a:pPr>
            <a:r>
              <a:rPr kumimoji="1" lang="en-US" altLang="ja-JP" sz="72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Yu Gothic UI Semilight" panose="020B0400000000000000" pitchFamily="50" charset="-128"/>
                <a:ea typeface="Yu Gothic UI Semilight" panose="020B0400000000000000" pitchFamily="50" charset="-128"/>
              </a:rPr>
              <a:t>Why </a:t>
            </a:r>
            <a:r>
              <a:rPr kumimoji="1" lang="ja-JP" altLang="en-US" sz="72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Yu Gothic UI Semilight" panose="020B0400000000000000" pitchFamily="50" charset="-128"/>
                <a:ea typeface="Yu Gothic UI Semilight" panose="020B0400000000000000" pitchFamily="50" charset="-128"/>
              </a:rPr>
              <a:t>Fujitsu </a:t>
            </a:r>
            <a:r>
              <a:rPr kumimoji="1" lang="en-US" altLang="ja-JP" sz="72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Yu Gothic UI Semilight" panose="020B0400000000000000" pitchFamily="50" charset="-128"/>
                <a:ea typeface="Yu Gothic UI Semilight" panose="020B0400000000000000" pitchFamily="50" charset="-128"/>
              </a:rPr>
              <a:t>should do the</a:t>
            </a:r>
            <a:r>
              <a:rPr kumimoji="1" lang="ja-JP" altLang="en-US" sz="72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Yu Gothic UI Semilight" panose="020B0400000000000000" pitchFamily="50" charset="-128"/>
                <a:ea typeface="Yu Gothic UI Semilight" panose="020B0400000000000000" pitchFamily="50" charset="-128"/>
              </a:rPr>
              <a:t> Business</a:t>
            </a:r>
            <a:r>
              <a:rPr kumimoji="1" lang="en-US" altLang="ja-JP" sz="72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Yu Gothic UI Semilight" panose="020B0400000000000000" pitchFamily="50" charset="-128"/>
                <a:ea typeface="Yu Gothic UI Semilight" panose="020B0400000000000000" pitchFamily="50" charset="-128"/>
              </a:rPr>
              <a:t>?</a:t>
            </a:r>
            <a:endParaRPr kumimoji="1" lang="ja-JP" altLang="en-US" sz="72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uLnTx/>
              <a:uFillTx/>
              <a:latin typeface="Yu Gothic UI Semilight" panose="020B0400000000000000" pitchFamily="50" charset="-128"/>
              <a:ea typeface="Yu Gothic UI Semilight" panose="020B0400000000000000" pitchFamily="50" charset="-128"/>
            </a:endParaRPr>
          </a:p>
          <a:p>
            <a:pPr marR="0" lvl="0" algn="ctr" defTabSz="914400" rtl="0" eaLnBrk="1" fontAlgn="ctr" latinLnBrk="0" hangingPunct="1">
              <a:lnSpc>
                <a:spcPct val="100000"/>
              </a:lnSpc>
              <a:spcBef>
                <a:spcPct val="0"/>
              </a:spcBef>
              <a:buClrTx/>
              <a:buSzTx/>
              <a:tabLst/>
              <a:defRPr/>
            </a:pPr>
            <a:r>
              <a:rPr kumimoji="1" lang="en-US" altLang="ja-JP" sz="72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Yu Gothic UI Semilight" panose="020B0400000000000000" pitchFamily="50" charset="-128"/>
                <a:ea typeface="Yu Gothic UI Semilight" panose="020B0400000000000000" pitchFamily="50" charset="-128"/>
              </a:rPr>
              <a:t>Key Focus Area Business</a:t>
            </a:r>
            <a:endParaRPr kumimoji="1" lang="en-US" altLang="ja-JP" sz="720" dirty="0">
              <a:solidFill>
                <a:schemeClr val="tx1">
                  <a:lumMod val="65000"/>
                  <a:lumOff val="35000"/>
                </a:schemeClr>
              </a:solidFill>
              <a:latin typeface="Yu Gothic UI Semilight" panose="020B0400000000000000" pitchFamily="50" charset="-128"/>
              <a:ea typeface="Yu Gothic UI Semilight" panose="020B0400000000000000" pitchFamily="50" charset="-128"/>
            </a:endParaRPr>
          </a:p>
        </p:txBody>
      </p:sp>
      <p:sp>
        <p:nvSpPr>
          <p:cNvPr id="124" name="正方形/長方形 123">
            <a:extLst>
              <a:ext uri="{FF2B5EF4-FFF2-40B4-BE49-F238E27FC236}">
                <a16:creationId xmlns:a16="http://schemas.microsoft.com/office/drawing/2014/main" id="{D02F335F-EB9E-45E0-89DE-C79B0BD7D380}"/>
              </a:ext>
            </a:extLst>
          </p:cNvPr>
          <p:cNvSpPr/>
          <p:nvPr/>
        </p:nvSpPr>
        <p:spPr bwMode="gray">
          <a:xfrm>
            <a:off x="5605941" y="3333362"/>
            <a:ext cx="949667" cy="179754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R="0" lvl="0" algn="ctr" defTabSz="914400" rtl="0" eaLnBrk="1" fontAlgn="ctr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1" lang="en-US" altLang="ja-JP" sz="72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Yu Gothic UI Semibold" panose="020B0700000000000000" pitchFamily="50" charset="-128"/>
                <a:ea typeface="Yu Gothic UI Semibold" panose="020B0700000000000000" pitchFamily="50" charset="-128"/>
              </a:rPr>
              <a:t>A</a:t>
            </a:r>
            <a:r>
              <a:rPr kumimoji="1" lang="ja-JP" altLang="en-US" sz="72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Yu Gothic UI Semibold" panose="020B0700000000000000" pitchFamily="50" charset="-128"/>
                <a:ea typeface="Yu Gothic UI Semibold" panose="020B0700000000000000" pitchFamily="50" charset="-128"/>
              </a:rPr>
              <a:t>uditor</a:t>
            </a:r>
            <a:endParaRPr kumimoji="1" lang="en-US" altLang="ja-JP" sz="72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uLnTx/>
              <a:uFillTx/>
              <a:latin typeface="Yu Gothic UI Semibold" panose="020B0700000000000000" pitchFamily="50" charset="-128"/>
              <a:ea typeface="Yu Gothic UI Semibold" panose="020B0700000000000000" pitchFamily="50" charset="-128"/>
            </a:endParaRPr>
          </a:p>
          <a:p>
            <a:pPr marR="0" lvl="0" algn="ctr" defTabSz="914400" rtl="0" eaLnBrk="1" fontAlgn="ctr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1" lang="ja-JP" altLang="en-US" sz="560" dirty="0">
                <a:solidFill>
                  <a:schemeClr val="tx1">
                    <a:lumMod val="65000"/>
                    <a:lumOff val="35000"/>
                  </a:schemeClr>
                </a:solidFill>
                <a:latin typeface="Yu Gothic UI Semilight" panose="020B0400000000000000" pitchFamily="50" charset="-128"/>
                <a:ea typeface="Yu Gothic UI Semilight" panose="020B0400000000000000" pitchFamily="50" charset="-128"/>
              </a:rPr>
              <a:t>(KFA Leader/M &amp; A)</a:t>
            </a:r>
            <a:endParaRPr kumimoji="1" lang="en-US" altLang="ja-JP" sz="80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uLnTx/>
              <a:uFillTx/>
              <a:latin typeface="Yu Gothic UI Semilight" panose="020B0400000000000000" pitchFamily="50" charset="-128"/>
              <a:ea typeface="Yu Gothic UI Semilight" panose="020B0400000000000000" pitchFamily="50" charset="-128"/>
            </a:endParaRPr>
          </a:p>
        </p:txBody>
      </p:sp>
      <p:sp>
        <p:nvSpPr>
          <p:cNvPr id="125" name="正方形/長方形 124">
            <a:extLst>
              <a:ext uri="{FF2B5EF4-FFF2-40B4-BE49-F238E27FC236}">
                <a16:creationId xmlns:a16="http://schemas.microsoft.com/office/drawing/2014/main" id="{8EB23B0A-F564-4406-8A8D-9A9ACCAF532E}"/>
              </a:ext>
            </a:extLst>
          </p:cNvPr>
          <p:cNvSpPr/>
          <p:nvPr/>
        </p:nvSpPr>
        <p:spPr bwMode="gray">
          <a:xfrm>
            <a:off x="5671402" y="2718558"/>
            <a:ext cx="863334" cy="179754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R="0" lvl="0" algn="ctr" defTabSz="914400" rtl="0" eaLnBrk="1" fontAlgn="ctr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1" lang="en-US" altLang="ja-JP" sz="720" dirty="0">
                <a:solidFill>
                  <a:schemeClr val="tx1">
                    <a:lumMod val="65000"/>
                    <a:lumOff val="35000"/>
                  </a:schemeClr>
                </a:solidFill>
                <a:latin typeface="Yu Gothic UI Semibold" panose="020B0700000000000000" pitchFamily="50" charset="-128"/>
                <a:ea typeface="Yu Gothic UI Semibold" panose="020B0700000000000000" pitchFamily="50" charset="-128"/>
              </a:rPr>
              <a:t>Requirement</a:t>
            </a:r>
            <a:endParaRPr kumimoji="1" lang="en-US" altLang="ja-JP" sz="72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uLnTx/>
              <a:uFillTx/>
              <a:latin typeface="Yu Gothic UI Semibold" panose="020B0700000000000000" pitchFamily="50" charset="-128"/>
              <a:ea typeface="Yu Gothic UI Semibold" panose="020B0700000000000000" pitchFamily="50" charset="-128"/>
            </a:endParaRPr>
          </a:p>
        </p:txBody>
      </p:sp>
      <p:grpSp>
        <p:nvGrpSpPr>
          <p:cNvPr id="126" name="グループ化 125">
            <a:extLst>
              <a:ext uri="{FF2B5EF4-FFF2-40B4-BE49-F238E27FC236}">
                <a16:creationId xmlns:a16="http://schemas.microsoft.com/office/drawing/2014/main" id="{60533851-A616-4D72-9444-ED4015DCD02D}"/>
              </a:ext>
            </a:extLst>
          </p:cNvPr>
          <p:cNvGrpSpPr/>
          <p:nvPr/>
        </p:nvGrpSpPr>
        <p:grpSpPr>
          <a:xfrm>
            <a:off x="1026974" y="3821688"/>
            <a:ext cx="1299455" cy="1077458"/>
            <a:chOff x="1026974" y="3722298"/>
            <a:chExt cx="1299455" cy="1077458"/>
          </a:xfrm>
        </p:grpSpPr>
        <p:sp>
          <p:nvSpPr>
            <p:cNvPr id="127" name="Rectangle 49">
              <a:extLst>
                <a:ext uri="{FF2B5EF4-FFF2-40B4-BE49-F238E27FC236}">
                  <a16:creationId xmlns:a16="http://schemas.microsoft.com/office/drawing/2014/main" id="{6FE980E0-183A-44B7-8C37-299C5903FE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31632" y="4409575"/>
              <a:ext cx="1294570" cy="390181"/>
            </a:xfrm>
            <a:prstGeom prst="rect">
              <a:avLst/>
            </a:prstGeom>
            <a:solidFill>
              <a:srgbClr val="2C96A4">
                <a:alpha val="7000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27000" tIns="27000" rIns="27000" bIns="27000" numCol="1" anchor="ctr" anchorCtr="0" compatLnSpc="1">
              <a:prstTxWarp prst="textNoShape">
                <a:avLst/>
              </a:prstTxWarp>
              <a:no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ja-JP" sz="72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endParaRPr>
            </a:p>
          </p:txBody>
        </p:sp>
        <p:sp>
          <p:nvSpPr>
            <p:cNvPr id="128" name="正方形/長方形 127">
              <a:extLst>
                <a:ext uri="{FF2B5EF4-FFF2-40B4-BE49-F238E27FC236}">
                  <a16:creationId xmlns:a16="http://schemas.microsoft.com/office/drawing/2014/main" id="{FD7B6249-F387-4ED8-AC71-C2F98B4707D6}"/>
                </a:ext>
              </a:extLst>
            </p:cNvPr>
            <p:cNvSpPr/>
            <p:nvPr/>
          </p:nvSpPr>
          <p:spPr>
            <a:xfrm>
              <a:off x="1026974" y="4080653"/>
              <a:ext cx="1299227" cy="328921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27000" tIns="27000" rIns="27000" bIns="2700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kumimoji="1" lang="ja-JP" altLang="en-US" sz="840" b="1" spc="100" dirty="0" err="1">
                <a:solidFill>
                  <a:srgbClr val="037BA5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endParaRPr>
            </a:p>
          </p:txBody>
        </p:sp>
        <p:grpSp>
          <p:nvGrpSpPr>
            <p:cNvPr id="137" name="グループ化 136">
              <a:extLst>
                <a:ext uri="{FF2B5EF4-FFF2-40B4-BE49-F238E27FC236}">
                  <a16:creationId xmlns:a16="http://schemas.microsoft.com/office/drawing/2014/main" id="{4D70A325-B03B-4BE7-82E8-079122BC8F02}"/>
                </a:ext>
              </a:extLst>
            </p:cNvPr>
            <p:cNvGrpSpPr/>
            <p:nvPr/>
          </p:nvGrpSpPr>
          <p:grpSpPr>
            <a:xfrm>
              <a:off x="1033270" y="3722298"/>
              <a:ext cx="1293159" cy="363363"/>
              <a:chOff x="920500" y="3791643"/>
              <a:chExt cx="1721195" cy="491325"/>
            </a:xfrm>
          </p:grpSpPr>
          <p:sp>
            <p:nvSpPr>
              <p:cNvPr id="140" name="円/楕円 5">
                <a:extLst>
                  <a:ext uri="{FF2B5EF4-FFF2-40B4-BE49-F238E27FC236}">
                    <a16:creationId xmlns:a16="http://schemas.microsoft.com/office/drawing/2014/main" id="{7A942A2F-74AB-4E47-BC6A-429DE3CE6946}"/>
                  </a:ext>
                </a:extLst>
              </p:cNvPr>
              <p:cNvSpPr/>
              <p:nvPr/>
            </p:nvSpPr>
            <p:spPr bwMode="gray">
              <a:xfrm>
                <a:off x="920500" y="3791643"/>
                <a:ext cx="1721195" cy="491325"/>
              </a:xfrm>
              <a:prstGeom prst="rect">
                <a:avLst/>
              </a:prstGeom>
              <a:solidFill>
                <a:srgbClr val="2C96A4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27000" tIns="27000" rIns="27000" bIns="27000" numCol="1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ja-JP" altLang="en-US" sz="400" b="1" i="0" u="none" strike="noStrike" kern="1200" cap="none" spc="0" normalizeH="0" baseline="0" noProof="0">
                  <a:ln>
                    <a:noFill/>
                  </a:ln>
                  <a:solidFill>
                    <a:srgbClr val="235C73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endParaRPr>
              </a:p>
            </p:txBody>
          </p:sp>
          <p:sp>
            <p:nvSpPr>
              <p:cNvPr id="141" name="正方形/長方形 140">
                <a:extLst>
                  <a:ext uri="{FF2B5EF4-FFF2-40B4-BE49-F238E27FC236}">
                    <a16:creationId xmlns:a16="http://schemas.microsoft.com/office/drawing/2014/main" id="{5ABF4294-3D76-4C69-A6E2-D9A6C5FFEB32}"/>
                  </a:ext>
                </a:extLst>
              </p:cNvPr>
              <p:cNvSpPr/>
              <p:nvPr/>
            </p:nvSpPr>
            <p:spPr bwMode="gray">
              <a:xfrm>
                <a:off x="1442972" y="3916013"/>
                <a:ext cx="624367" cy="189314"/>
              </a:xfrm>
              <a:prstGeom prst="rect">
                <a:avLst/>
              </a:prstGeom>
              <a:noFill/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ctr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ja-JP" sz="880" b="0" i="0" u="none" strike="noStrike" kern="1200" cap="none" spc="20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游ゴシック" panose="020B0400000000000000" pitchFamily="50" charset="-128"/>
                    <a:cs typeface="Calibri" panose="020F0502020204030204" pitchFamily="34" charset="0"/>
                  </a:rPr>
                  <a:t>Academy</a:t>
                </a:r>
                <a:endParaRPr kumimoji="1" lang="ja-JP" altLang="en-US" sz="1280" b="0" i="0" u="none" strike="noStrike" kern="1200" cap="none" spc="20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游ゴシック" panose="020B0400000000000000" pitchFamily="50" charset="-128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138" name="テキスト ボックス 137">
              <a:extLst>
                <a:ext uri="{FF2B5EF4-FFF2-40B4-BE49-F238E27FC236}">
                  <a16:creationId xmlns:a16="http://schemas.microsoft.com/office/drawing/2014/main" id="{A8C61AC8-811C-4BCA-900F-454781097E01}"/>
                </a:ext>
              </a:extLst>
            </p:cNvPr>
            <p:cNvSpPr txBox="1"/>
            <p:nvPr/>
          </p:nvSpPr>
          <p:spPr>
            <a:xfrm>
              <a:off x="1070938" y="4412422"/>
              <a:ext cx="1205695" cy="369332"/>
            </a:xfrm>
            <a:prstGeom prst="rect">
              <a:avLst/>
            </a:prstGeom>
            <a:noFill/>
          </p:spPr>
          <p:txBody>
            <a:bodyPr wrap="none" anchor="ctr">
              <a:noAutofit/>
            </a:bodyPr>
            <a:lstStyle/>
            <a:p>
              <a:pPr algn="ctr"/>
              <a:r>
                <a:rPr lang="en-US" altLang="ja-JP" sz="640" dirty="0">
                  <a:solidFill>
                    <a:schemeClr val="bg1"/>
                  </a:solidFill>
                  <a:latin typeface="Yu Gothic UI Semibold" panose="020B0700000000000000" pitchFamily="50" charset="-128"/>
                  <a:ea typeface="Yu Gothic UI Semibold" panose="020B0700000000000000" pitchFamily="50" charset="-128"/>
                </a:rPr>
                <a:t>Step up to challenger </a:t>
              </a:r>
            </a:p>
          </p:txBody>
        </p:sp>
        <p:sp>
          <p:nvSpPr>
            <p:cNvPr id="139" name="テキスト ボックス 138">
              <a:extLst>
                <a:ext uri="{FF2B5EF4-FFF2-40B4-BE49-F238E27FC236}">
                  <a16:creationId xmlns:a16="http://schemas.microsoft.com/office/drawing/2014/main" id="{87DDE2C9-11AE-424E-9286-60E811AED66C}"/>
                </a:ext>
              </a:extLst>
            </p:cNvPr>
            <p:cNvSpPr txBox="1"/>
            <p:nvPr/>
          </p:nvSpPr>
          <p:spPr>
            <a:xfrm>
              <a:off x="1066769" y="4076361"/>
              <a:ext cx="1205695" cy="369332"/>
            </a:xfrm>
            <a:prstGeom prst="rect">
              <a:avLst/>
            </a:prstGeom>
            <a:noFill/>
          </p:spPr>
          <p:txBody>
            <a:bodyPr wrap="none">
              <a:no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640" b="1" i="0" u="none" strike="noStrike" kern="1200" cap="none" normalizeH="0" baseline="0" noProof="0" dirty="0">
                  <a:ln>
                    <a:noFill/>
                  </a:ln>
                  <a:solidFill>
                    <a:srgbClr val="037BA5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World-class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640" b="1" i="0" u="none" strike="noStrike" kern="1200" cap="none" normalizeH="0" baseline="0" noProof="0" dirty="0">
                  <a:ln>
                    <a:noFill/>
                  </a:ln>
                  <a:solidFill>
                    <a:srgbClr val="037BA5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Entrepreneurship education</a:t>
              </a:r>
            </a:p>
          </p:txBody>
        </p:sp>
      </p:grpSp>
      <p:grpSp>
        <p:nvGrpSpPr>
          <p:cNvPr id="166" name="グループ化 165">
            <a:extLst>
              <a:ext uri="{FF2B5EF4-FFF2-40B4-BE49-F238E27FC236}">
                <a16:creationId xmlns:a16="http://schemas.microsoft.com/office/drawing/2014/main" id="{C05D8DB3-DC65-4FEF-BD36-D5C67253B8F7}"/>
              </a:ext>
            </a:extLst>
          </p:cNvPr>
          <p:cNvGrpSpPr/>
          <p:nvPr/>
        </p:nvGrpSpPr>
        <p:grpSpPr>
          <a:xfrm>
            <a:off x="3976279" y="2741701"/>
            <a:ext cx="1301349" cy="1073150"/>
            <a:chOff x="7323910" y="476868"/>
            <a:chExt cx="1301349" cy="1073150"/>
          </a:xfrm>
        </p:grpSpPr>
        <p:grpSp>
          <p:nvGrpSpPr>
            <p:cNvPr id="167" name="グループ化 166">
              <a:extLst>
                <a:ext uri="{FF2B5EF4-FFF2-40B4-BE49-F238E27FC236}">
                  <a16:creationId xmlns:a16="http://schemas.microsoft.com/office/drawing/2014/main" id="{B4512AAC-8CA5-4F4C-918F-9B230D5FDC6E}"/>
                </a:ext>
              </a:extLst>
            </p:cNvPr>
            <p:cNvGrpSpPr/>
            <p:nvPr/>
          </p:nvGrpSpPr>
          <p:grpSpPr>
            <a:xfrm>
              <a:off x="7329067" y="476868"/>
              <a:ext cx="1293159" cy="360861"/>
              <a:chOff x="3711403" y="2938802"/>
              <a:chExt cx="1721195" cy="491325"/>
            </a:xfrm>
          </p:grpSpPr>
          <p:sp>
            <p:nvSpPr>
              <p:cNvPr id="180" name="円/楕円 5">
                <a:extLst>
                  <a:ext uri="{FF2B5EF4-FFF2-40B4-BE49-F238E27FC236}">
                    <a16:creationId xmlns:a16="http://schemas.microsoft.com/office/drawing/2014/main" id="{83C9498C-D26D-4559-8D79-2F8EC5B9A529}"/>
                  </a:ext>
                </a:extLst>
              </p:cNvPr>
              <p:cNvSpPr/>
              <p:nvPr/>
            </p:nvSpPr>
            <p:spPr bwMode="gray">
              <a:xfrm>
                <a:off x="3711403" y="2938802"/>
                <a:ext cx="1721195" cy="491325"/>
              </a:xfrm>
              <a:prstGeom prst="rect">
                <a:avLst/>
              </a:prstGeom>
              <a:solidFill>
                <a:srgbClr val="FC4664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27000" tIns="27000" rIns="27000" bIns="27000" numCol="1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ja-JP" altLang="en-US" sz="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endParaRPr>
              </a:p>
            </p:txBody>
          </p:sp>
          <p:sp>
            <p:nvSpPr>
              <p:cNvPr id="181" name="正方形/長方形 180">
                <a:extLst>
                  <a:ext uri="{FF2B5EF4-FFF2-40B4-BE49-F238E27FC236}">
                    <a16:creationId xmlns:a16="http://schemas.microsoft.com/office/drawing/2014/main" id="{E39AF7E8-F776-4F6A-9A1D-287AC3FBC971}"/>
                  </a:ext>
                </a:extLst>
              </p:cNvPr>
              <p:cNvSpPr/>
              <p:nvPr/>
            </p:nvSpPr>
            <p:spPr bwMode="gray">
              <a:xfrm>
                <a:off x="4253594" y="3058991"/>
                <a:ext cx="644335" cy="195704"/>
              </a:xfrm>
              <a:prstGeom prst="rect">
                <a:avLst/>
              </a:prstGeom>
              <a:noFill/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ctr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ja-JP" sz="880" b="0" i="0" u="none" strike="noStrike" kern="1200" cap="none" spc="20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游ゴシック" panose="020B0400000000000000" pitchFamily="50" charset="-128"/>
                    <a:cs typeface="Calibri" panose="020F0502020204030204" pitchFamily="34" charset="0"/>
                  </a:rPr>
                  <a:t>Challenge</a:t>
                </a:r>
                <a:endParaRPr kumimoji="1" lang="ja-JP" altLang="en-US" sz="880" b="0" i="0" u="none" strike="noStrike" kern="1200" cap="none" spc="20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游ゴシック" panose="020B0400000000000000" pitchFamily="50" charset="-128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168" name="正方形/長方形 167">
              <a:extLst>
                <a:ext uri="{FF2B5EF4-FFF2-40B4-BE49-F238E27FC236}">
                  <a16:creationId xmlns:a16="http://schemas.microsoft.com/office/drawing/2014/main" id="{DC78030F-2BC7-401D-BED5-C558B0D07ED5}"/>
                </a:ext>
              </a:extLst>
            </p:cNvPr>
            <p:cNvSpPr/>
            <p:nvPr/>
          </p:nvSpPr>
          <p:spPr>
            <a:xfrm>
              <a:off x="7326032" y="838191"/>
              <a:ext cx="1299227" cy="328921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kumimoji="1" lang="ja-JP" altLang="en-US" sz="840" b="1" spc="100" dirty="0" err="1">
                <a:solidFill>
                  <a:srgbClr val="5B76B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endParaRPr>
            </a:p>
          </p:txBody>
        </p:sp>
        <p:sp>
          <p:nvSpPr>
            <p:cNvPr id="172" name="Rectangle 49">
              <a:extLst>
                <a:ext uri="{FF2B5EF4-FFF2-40B4-BE49-F238E27FC236}">
                  <a16:creationId xmlns:a16="http://schemas.microsoft.com/office/drawing/2014/main" id="{D3B68C56-811F-4E29-9AB7-8A75D9B5F2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23910" y="1155789"/>
              <a:ext cx="1293160" cy="394229"/>
            </a:xfrm>
            <a:prstGeom prst="rect">
              <a:avLst/>
            </a:prstGeom>
            <a:solidFill>
              <a:srgbClr val="FC4664">
                <a:alpha val="7000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27000" tIns="27000" rIns="27000" bIns="27000" numCol="1" anchor="ctr" anchorCtr="0" compatLnSpc="1">
              <a:prstTxWarp prst="textNoShape">
                <a:avLst/>
              </a:prstTxWarp>
              <a:no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ja-JP" sz="72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endParaRPr>
            </a:p>
          </p:txBody>
        </p:sp>
        <p:sp>
          <p:nvSpPr>
            <p:cNvPr id="177" name="テキスト ボックス 176">
              <a:extLst>
                <a:ext uri="{FF2B5EF4-FFF2-40B4-BE49-F238E27FC236}">
                  <a16:creationId xmlns:a16="http://schemas.microsoft.com/office/drawing/2014/main" id="{86E43577-AA52-49F4-AC92-E288944B72A2}"/>
                </a:ext>
              </a:extLst>
            </p:cNvPr>
            <p:cNvSpPr txBox="1"/>
            <p:nvPr/>
          </p:nvSpPr>
          <p:spPr>
            <a:xfrm>
              <a:off x="7374940" y="815837"/>
              <a:ext cx="1159523" cy="400110"/>
            </a:xfrm>
            <a:prstGeom prst="rect">
              <a:avLst/>
            </a:prstGeom>
            <a:noFill/>
          </p:spPr>
          <p:txBody>
            <a:bodyPr wrap="none">
              <a:no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640" b="1" i="0" u="none" strike="noStrike" kern="1200" cap="none" normalizeH="0" baseline="0" noProof="0" dirty="0">
                  <a:ln>
                    <a:noFill/>
                  </a:ln>
                  <a:solidFill>
                    <a:srgbClr val="FC2C4F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Opportunities for</a:t>
              </a:r>
              <a:br>
                <a:rPr kumimoji="1" lang="en-US" altLang="ja-JP" sz="640" b="1" i="0" u="none" strike="noStrike" kern="1200" cap="none" normalizeH="0" baseline="0" noProof="0" dirty="0">
                  <a:ln>
                    <a:noFill/>
                  </a:ln>
                  <a:solidFill>
                    <a:srgbClr val="FC2C4F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</a:br>
              <a:r>
                <a:rPr kumimoji="1" lang="en-US" altLang="ja-JP" sz="640" b="1" i="0" u="none" strike="noStrike" kern="1200" cap="none" normalizeH="0" baseline="0" noProof="0" dirty="0">
                  <a:ln>
                    <a:noFill/>
                  </a:ln>
                  <a:solidFill>
                    <a:srgbClr val="FC2C4F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 business creation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640" b="1" i="0" u="none" strike="noStrike" kern="1200" cap="none" normalizeH="0" baseline="0" noProof="0" dirty="0">
                  <a:ln>
                    <a:noFill/>
                  </a:ln>
                  <a:solidFill>
                    <a:srgbClr val="FC2C4F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learning through practice</a:t>
              </a:r>
            </a:p>
          </p:txBody>
        </p:sp>
        <p:sp>
          <p:nvSpPr>
            <p:cNvPr id="179" name="テキスト ボックス 178">
              <a:extLst>
                <a:ext uri="{FF2B5EF4-FFF2-40B4-BE49-F238E27FC236}">
                  <a16:creationId xmlns:a16="http://schemas.microsoft.com/office/drawing/2014/main" id="{130C2BF6-73EE-416E-AEA1-42B191B12AC8}"/>
                </a:ext>
              </a:extLst>
            </p:cNvPr>
            <p:cNvSpPr txBox="1"/>
            <p:nvPr/>
          </p:nvSpPr>
          <p:spPr>
            <a:xfrm>
              <a:off x="7427028" y="1164631"/>
              <a:ext cx="1096086" cy="369332"/>
            </a:xfrm>
            <a:prstGeom prst="rect">
              <a:avLst/>
            </a:prstGeom>
            <a:noFill/>
          </p:spPr>
          <p:txBody>
            <a:bodyPr wrap="none" anchor="ctr">
              <a:noAutofit/>
            </a:bodyPr>
            <a:lstStyle>
              <a:defPPr>
                <a:defRPr lang="en-US"/>
              </a:defPPr>
              <a:lvl1pPr algn="ctr">
                <a:defRPr sz="720">
                  <a:solidFill>
                    <a:schemeClr val="bg1"/>
                  </a:solidFill>
                  <a:latin typeface="Yu Gothic UI Semibold" panose="020B0700000000000000" pitchFamily="50" charset="-128"/>
                  <a:ea typeface="Yu Gothic UI Semibold" panose="020B0700000000000000" pitchFamily="50" charset="-128"/>
                </a:defRPr>
              </a:lvl1pPr>
            </a:lstStyle>
            <a:p>
              <a:r>
                <a:rPr lang="en-US" altLang="ja-JP" sz="640" dirty="0"/>
                <a:t>Step up  to </a:t>
              </a:r>
              <a:r>
                <a:rPr lang="en-US" altLang="ja-JP" sz="640" dirty="0" err="1"/>
                <a:t>i</a:t>
              </a:r>
              <a:r>
                <a:rPr lang="ja-JP" altLang="en-US" sz="640" dirty="0"/>
                <a:t>ntrepreneur</a:t>
              </a:r>
            </a:p>
          </p:txBody>
        </p:sp>
      </p:grpSp>
      <p:grpSp>
        <p:nvGrpSpPr>
          <p:cNvPr id="182" name="グループ化 181">
            <a:extLst>
              <a:ext uri="{FF2B5EF4-FFF2-40B4-BE49-F238E27FC236}">
                <a16:creationId xmlns:a16="http://schemas.microsoft.com/office/drawing/2014/main" id="{2D767D92-5CE3-45E2-BBC3-79E9A89DF662}"/>
              </a:ext>
            </a:extLst>
          </p:cNvPr>
          <p:cNvGrpSpPr/>
          <p:nvPr/>
        </p:nvGrpSpPr>
        <p:grpSpPr>
          <a:xfrm>
            <a:off x="6916013" y="2008582"/>
            <a:ext cx="1304508" cy="1075980"/>
            <a:chOff x="8755887" y="474366"/>
            <a:chExt cx="1304508" cy="1075980"/>
          </a:xfrm>
        </p:grpSpPr>
        <p:grpSp>
          <p:nvGrpSpPr>
            <p:cNvPr id="183" name="グループ化 182">
              <a:extLst>
                <a:ext uri="{FF2B5EF4-FFF2-40B4-BE49-F238E27FC236}">
                  <a16:creationId xmlns:a16="http://schemas.microsoft.com/office/drawing/2014/main" id="{C8DBDD1A-3C39-4F63-A1DF-4DE9A1181A30}"/>
                </a:ext>
              </a:extLst>
            </p:cNvPr>
            <p:cNvGrpSpPr/>
            <p:nvPr/>
          </p:nvGrpSpPr>
          <p:grpSpPr>
            <a:xfrm>
              <a:off x="8767236" y="474366"/>
              <a:ext cx="1293159" cy="360861"/>
              <a:chOff x="6512336" y="2211919"/>
              <a:chExt cx="1721195" cy="491325"/>
            </a:xfrm>
          </p:grpSpPr>
          <p:sp>
            <p:nvSpPr>
              <p:cNvPr id="188" name="円/楕円 5">
                <a:extLst>
                  <a:ext uri="{FF2B5EF4-FFF2-40B4-BE49-F238E27FC236}">
                    <a16:creationId xmlns:a16="http://schemas.microsoft.com/office/drawing/2014/main" id="{C24B6504-5CC1-43A3-A9E9-7D065A4D0E96}"/>
                  </a:ext>
                </a:extLst>
              </p:cNvPr>
              <p:cNvSpPr/>
              <p:nvPr/>
            </p:nvSpPr>
            <p:spPr bwMode="gray">
              <a:xfrm>
                <a:off x="6512336" y="2211919"/>
                <a:ext cx="1721195" cy="491325"/>
              </a:xfrm>
              <a:prstGeom prst="rect">
                <a:avLst/>
              </a:prstGeom>
              <a:solidFill>
                <a:srgbClr val="637AB5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27000" tIns="27000" rIns="27000" bIns="27000" numCol="1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ja-JP" altLang="en-US" sz="400" b="1" i="0" u="none" strike="noStrike" kern="1200" cap="none" spc="0" normalizeH="0" baseline="0" noProof="0">
                  <a:ln>
                    <a:noFill/>
                  </a:ln>
                  <a:solidFill>
                    <a:srgbClr val="615A84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endParaRPr>
              </a:p>
            </p:txBody>
          </p:sp>
          <p:sp>
            <p:nvSpPr>
              <p:cNvPr id="189" name="正方形/長方形 188">
                <a:extLst>
                  <a:ext uri="{FF2B5EF4-FFF2-40B4-BE49-F238E27FC236}">
                    <a16:creationId xmlns:a16="http://schemas.microsoft.com/office/drawing/2014/main" id="{CED9386C-1E7F-491B-8312-D588EBB41B5C}"/>
                  </a:ext>
                </a:extLst>
              </p:cNvPr>
              <p:cNvSpPr/>
              <p:nvPr/>
            </p:nvSpPr>
            <p:spPr bwMode="gray">
              <a:xfrm>
                <a:off x="7034905" y="2335541"/>
                <a:ext cx="644335" cy="195704"/>
              </a:xfrm>
              <a:prstGeom prst="rect">
                <a:avLst/>
              </a:prstGeom>
              <a:noFill/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ctr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ja-JP" sz="880" b="0" i="0" u="none" strike="noStrike" kern="1200" cap="none" spc="20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游ゴシック" panose="020B0400000000000000" pitchFamily="50" charset="-128"/>
                    <a:cs typeface="Calibri" panose="020F0502020204030204" pitchFamily="34" charset="0"/>
                  </a:rPr>
                  <a:t>Growth</a:t>
                </a:r>
                <a:endParaRPr kumimoji="1" lang="ja-JP" altLang="en-US" sz="880" b="0" i="0" u="none" strike="noStrike" kern="1200" cap="none" spc="20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游ゴシック" panose="020B0400000000000000" pitchFamily="50" charset="-128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184" name="Rectangle 49">
              <a:extLst>
                <a:ext uri="{FF2B5EF4-FFF2-40B4-BE49-F238E27FC236}">
                  <a16:creationId xmlns:a16="http://schemas.microsoft.com/office/drawing/2014/main" id="{5CF46383-EED0-489D-9296-74EE68ADF2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62308" y="1159520"/>
              <a:ext cx="1292806" cy="390498"/>
            </a:xfrm>
            <a:prstGeom prst="rect">
              <a:avLst/>
            </a:prstGeom>
            <a:solidFill>
              <a:srgbClr val="637AB5">
                <a:alpha val="7000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27000" tIns="27000" rIns="27000" bIns="27000" numCol="1" anchor="ctr" anchorCtr="0" compatLnSpc="1">
              <a:prstTxWarp prst="textNoShape">
                <a:avLst/>
              </a:prstTxWarp>
              <a:no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ja-JP" sz="72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endParaRPr>
            </a:p>
          </p:txBody>
        </p:sp>
        <p:sp>
          <p:nvSpPr>
            <p:cNvPr id="185" name="正方形/長方形 184">
              <a:extLst>
                <a:ext uri="{FF2B5EF4-FFF2-40B4-BE49-F238E27FC236}">
                  <a16:creationId xmlns:a16="http://schemas.microsoft.com/office/drawing/2014/main" id="{A85146A8-C74C-4994-8CF5-BF1C3A86FA61}"/>
                </a:ext>
              </a:extLst>
            </p:cNvPr>
            <p:cNvSpPr/>
            <p:nvPr/>
          </p:nvSpPr>
          <p:spPr>
            <a:xfrm>
              <a:off x="8755887" y="830703"/>
              <a:ext cx="1299227" cy="328921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kumimoji="1" lang="ja-JP" altLang="en-US" sz="840" b="1" spc="100" dirty="0" err="1">
                <a:solidFill>
                  <a:srgbClr val="5B76B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endParaRPr>
            </a:p>
          </p:txBody>
        </p:sp>
        <p:sp>
          <p:nvSpPr>
            <p:cNvPr id="186" name="テキスト ボックス 185">
              <a:extLst>
                <a:ext uri="{FF2B5EF4-FFF2-40B4-BE49-F238E27FC236}">
                  <a16:creationId xmlns:a16="http://schemas.microsoft.com/office/drawing/2014/main" id="{6BDB162C-8219-4E71-9C85-FA83D86610E9}"/>
                </a:ext>
              </a:extLst>
            </p:cNvPr>
            <p:cNvSpPr txBox="1"/>
            <p:nvPr/>
          </p:nvSpPr>
          <p:spPr>
            <a:xfrm>
              <a:off x="8845977" y="850066"/>
              <a:ext cx="1133644" cy="289310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640" b="1" i="0" u="none" strike="noStrike" kern="1200" cap="none" normalizeH="0" baseline="0" noProof="0" dirty="0">
                  <a:ln>
                    <a:noFill/>
                  </a:ln>
                  <a:solidFill>
                    <a:srgbClr val="5B76B1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Investment and support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640" b="1" i="0" u="none" strike="noStrike" kern="1200" cap="none" normalizeH="0" baseline="0" noProof="0" dirty="0">
                  <a:ln>
                    <a:noFill/>
                  </a:ln>
                  <a:solidFill>
                    <a:srgbClr val="5B76B1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to launch new business</a:t>
              </a:r>
            </a:p>
          </p:txBody>
        </p:sp>
        <p:sp>
          <p:nvSpPr>
            <p:cNvPr id="187" name="テキスト ボックス 186">
              <a:extLst>
                <a:ext uri="{FF2B5EF4-FFF2-40B4-BE49-F238E27FC236}">
                  <a16:creationId xmlns:a16="http://schemas.microsoft.com/office/drawing/2014/main" id="{23D52828-0FBB-4181-A3FB-3E36FEAA92CD}"/>
                </a:ext>
              </a:extLst>
            </p:cNvPr>
            <p:cNvSpPr txBox="1"/>
            <p:nvPr/>
          </p:nvSpPr>
          <p:spPr>
            <a:xfrm>
              <a:off x="8803918" y="1181014"/>
              <a:ext cx="1205695" cy="369332"/>
            </a:xfrm>
            <a:prstGeom prst="rect">
              <a:avLst/>
            </a:prstGeom>
            <a:noFill/>
          </p:spPr>
          <p:txBody>
            <a:bodyPr wrap="none" anchor="ctr">
              <a:noAutofit/>
            </a:bodyPr>
            <a:lstStyle>
              <a:defPPr>
                <a:defRPr lang="en-US"/>
              </a:defPPr>
              <a:lvl1pPr algn="ctr">
                <a:defRPr sz="720">
                  <a:solidFill>
                    <a:schemeClr val="bg1"/>
                  </a:solidFill>
                  <a:latin typeface="Yu Gothic UI Semibold" panose="020B0700000000000000" pitchFamily="50" charset="-128"/>
                  <a:ea typeface="Yu Gothic UI Semibold" panose="020B0700000000000000" pitchFamily="50" charset="-128"/>
                </a:defRPr>
              </a:lvl1pPr>
            </a:lstStyle>
            <a:p>
              <a:r>
                <a:rPr lang="en-US" altLang="ja-JP" sz="640" dirty="0"/>
                <a:t>Step up to innovator</a:t>
              </a:r>
              <a:endParaRPr lang="ja-JP" altLang="en-US" sz="640" dirty="0"/>
            </a:p>
          </p:txBody>
        </p:sp>
      </p:grpSp>
      <p:sp>
        <p:nvSpPr>
          <p:cNvPr id="190" name="テキスト ボックス 189">
            <a:extLst>
              <a:ext uri="{FF2B5EF4-FFF2-40B4-BE49-F238E27FC236}">
                <a16:creationId xmlns:a16="http://schemas.microsoft.com/office/drawing/2014/main" id="{74D7D121-001C-4A8F-9E73-DB93006A80D9}"/>
              </a:ext>
            </a:extLst>
          </p:cNvPr>
          <p:cNvSpPr txBox="1"/>
          <p:nvPr/>
        </p:nvSpPr>
        <p:spPr>
          <a:xfrm>
            <a:off x="2980204" y="2688868"/>
            <a:ext cx="929743" cy="276999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R="0" lvl="0" indent="0" algn="ctr" defTabSz="914400" font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1" sz="1600" b="0" i="0" u="none" strike="noStrike" cap="none" spc="20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游ゴシック" panose="020B0400000000000000" pitchFamily="50" charset="-128"/>
                <a:cs typeface="Calibri" panose="020F0502020204030204" pitchFamily="34" charset="0"/>
              </a:defRPr>
            </a:lvl1pPr>
          </a:lstStyle>
          <a:p>
            <a:r>
              <a:rPr lang="en-US" altLang="ja-JP" sz="1440" spc="0" dirty="0">
                <a:solidFill>
                  <a:srgbClr val="FC4664"/>
                </a:solidFill>
                <a:latin typeface="Yu Gothic UI Semibold" panose="020B0700000000000000" pitchFamily="50" charset="-128"/>
                <a:ea typeface="Yu Gothic UI Semibold" panose="020B0700000000000000" pitchFamily="50" charset="-128"/>
              </a:rPr>
              <a:t>Stage up</a:t>
            </a:r>
            <a:endParaRPr lang="ja-JP" altLang="en-US" sz="1440" spc="0" dirty="0">
              <a:solidFill>
                <a:srgbClr val="FC4664"/>
              </a:solidFill>
              <a:latin typeface="Yu Gothic UI Semibold" panose="020B0700000000000000" pitchFamily="50" charset="-128"/>
              <a:ea typeface="Yu Gothic UI Semibold" panose="020B0700000000000000" pitchFamily="50" charset="-128"/>
            </a:endParaRPr>
          </a:p>
        </p:txBody>
      </p:sp>
      <p:sp>
        <p:nvSpPr>
          <p:cNvPr id="191" name="テキスト ボックス 190">
            <a:extLst>
              <a:ext uri="{FF2B5EF4-FFF2-40B4-BE49-F238E27FC236}">
                <a16:creationId xmlns:a16="http://schemas.microsoft.com/office/drawing/2014/main" id="{04A5BD27-949A-4C06-BABF-6A4324B8681E}"/>
              </a:ext>
            </a:extLst>
          </p:cNvPr>
          <p:cNvSpPr txBox="1"/>
          <p:nvPr/>
        </p:nvSpPr>
        <p:spPr>
          <a:xfrm>
            <a:off x="5903930" y="1993146"/>
            <a:ext cx="929743" cy="276999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R="0" lvl="0" indent="0" algn="ctr" defTabSz="914400" font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1" sz="1600" b="0" i="0" u="none" strike="noStrike" cap="none" spc="20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游ゴシック" panose="020B0400000000000000" pitchFamily="50" charset="-128"/>
                <a:cs typeface="Calibri" panose="020F0502020204030204" pitchFamily="34" charset="0"/>
              </a:defRPr>
            </a:lvl1pPr>
          </a:lstStyle>
          <a:p>
            <a:r>
              <a:rPr lang="en-US" altLang="ja-JP" sz="1440" spc="0" dirty="0">
                <a:solidFill>
                  <a:srgbClr val="637AB5"/>
                </a:solidFill>
                <a:latin typeface="Yu Gothic UI Semibold" panose="020B0700000000000000" pitchFamily="50" charset="-128"/>
                <a:ea typeface="Yu Gothic UI Semibold" panose="020B0700000000000000" pitchFamily="50" charset="-128"/>
              </a:rPr>
              <a:t>Stage up</a:t>
            </a:r>
            <a:endParaRPr lang="ja-JP" altLang="en-US" sz="1440" spc="0" dirty="0">
              <a:solidFill>
                <a:srgbClr val="637AB5"/>
              </a:solidFill>
              <a:latin typeface="Yu Gothic UI Semibold" panose="020B0700000000000000" pitchFamily="50" charset="-128"/>
              <a:ea typeface="Yu Gothic UI Semibold" panose="020B0700000000000000" pitchFamily="50" charset="-128"/>
            </a:endParaRPr>
          </a:p>
        </p:txBody>
      </p:sp>
      <p:grpSp>
        <p:nvGrpSpPr>
          <p:cNvPr id="192" name="グループ化 191">
            <a:extLst>
              <a:ext uri="{FF2B5EF4-FFF2-40B4-BE49-F238E27FC236}">
                <a16:creationId xmlns:a16="http://schemas.microsoft.com/office/drawing/2014/main" id="{83FDD6EE-2654-4FC5-9EFB-4FE78A852B1D}"/>
              </a:ext>
            </a:extLst>
          </p:cNvPr>
          <p:cNvGrpSpPr/>
          <p:nvPr/>
        </p:nvGrpSpPr>
        <p:grpSpPr>
          <a:xfrm>
            <a:off x="5378993" y="3587477"/>
            <a:ext cx="340340" cy="587599"/>
            <a:chOff x="3509227" y="2305897"/>
            <a:chExt cx="367726" cy="634881"/>
          </a:xfrm>
        </p:grpSpPr>
        <p:sp>
          <p:nvSpPr>
            <p:cNvPr id="193" name="正方形/長方形 192">
              <a:extLst>
                <a:ext uri="{FF2B5EF4-FFF2-40B4-BE49-F238E27FC236}">
                  <a16:creationId xmlns:a16="http://schemas.microsoft.com/office/drawing/2014/main" id="{8E28C2A3-703C-4CD1-B79C-7F32363743E0}"/>
                </a:ext>
              </a:extLst>
            </p:cNvPr>
            <p:cNvSpPr/>
            <p:nvPr/>
          </p:nvSpPr>
          <p:spPr bwMode="gray">
            <a:xfrm>
              <a:off x="3556787" y="2858997"/>
              <a:ext cx="272606" cy="81781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ja-JP"/>
              </a:defPPr>
              <a:lvl1pPr algn="ctr" rtl="0" fontAlgn="ctr">
                <a:spcBef>
                  <a:spcPct val="0"/>
                </a:spcBef>
                <a:spcAft>
                  <a:spcPct val="0"/>
                </a:spcAft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1pPr>
              <a:lvl2pPr marL="457200" algn="ctr" rtl="0" fontAlgn="ctr">
                <a:spcBef>
                  <a:spcPct val="0"/>
                </a:spcBef>
                <a:spcAft>
                  <a:spcPct val="0"/>
                </a:spcAft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2pPr>
              <a:lvl3pPr marL="914400" algn="ctr" rtl="0" fontAlgn="ctr">
                <a:spcBef>
                  <a:spcPct val="0"/>
                </a:spcBef>
                <a:spcAft>
                  <a:spcPct val="0"/>
                </a:spcAft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3pPr>
              <a:lvl4pPr marL="1371600" algn="ctr" rtl="0" fontAlgn="ctr">
                <a:spcBef>
                  <a:spcPct val="0"/>
                </a:spcBef>
                <a:spcAft>
                  <a:spcPct val="0"/>
                </a:spcAft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4pPr>
              <a:lvl5pPr marL="1828800" algn="ctr" rtl="0" fontAlgn="ctr">
                <a:spcBef>
                  <a:spcPct val="0"/>
                </a:spcBef>
                <a:spcAft>
                  <a:spcPct val="0"/>
                </a:spcAft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5pPr>
              <a:lvl6pPr marL="2286000" algn="l" defTabSz="914400" rtl="0" eaLnBrk="1" latinLnBrk="0" hangingPunct="1"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6pPr>
              <a:lvl7pPr marL="2743200" algn="l" defTabSz="914400" rtl="0" eaLnBrk="1" latinLnBrk="0" hangingPunct="1"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7pPr>
              <a:lvl8pPr marL="3200400" algn="l" defTabSz="914400" rtl="0" eaLnBrk="1" latinLnBrk="0" hangingPunct="1"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8pPr>
              <a:lvl9pPr marL="3657600" algn="l" defTabSz="914400" rtl="0" eaLnBrk="1" latinLnBrk="0" hangingPunct="1"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9pPr>
            </a:lstStyle>
            <a:p>
              <a:pPr marL="0" marR="0" lvl="0" indent="0" algn="ctr" defTabSz="913852" rtl="0" eaLnBrk="1" fontAlgn="ctr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3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Yu Gothic UI Semilight" panose="020B0400000000000000" pitchFamily="50" charset="-128"/>
                  <a:ea typeface="Yu Gothic UI Semilight" panose="020B0400000000000000" pitchFamily="50" charset="-128"/>
                </a:rPr>
                <a:t>Corp. executive</a:t>
              </a:r>
            </a:p>
            <a:p>
              <a:pPr marL="0" marR="0" lvl="0" indent="0" algn="ctr" defTabSz="913852" rtl="0" eaLnBrk="1" fontAlgn="ctr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3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Yu Gothic UI Semilight" panose="020B0400000000000000" pitchFamily="50" charset="-128"/>
                  <a:ea typeface="Yu Gothic UI Semilight" panose="020B0400000000000000" pitchFamily="50" charset="-128"/>
                </a:rPr>
                <a:t> officer </a:t>
              </a:r>
              <a:r>
                <a:rPr kumimoji="1" lang="ja-JP" altLang="en-US" sz="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Yu Gothic UI Semilight" panose="020B0400000000000000" pitchFamily="50" charset="-128"/>
                  <a:ea typeface="Yu Gothic UI Semilight" panose="020B0400000000000000" pitchFamily="50" charset="-128"/>
                </a:rPr>
                <a:t> Onishi</a:t>
              </a:r>
              <a:endParaRPr kumimoji="1" lang="ja-JP" altLang="en-US" sz="88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Yu Gothic UI Semilight" panose="020B0400000000000000" pitchFamily="50" charset="-128"/>
                <a:ea typeface="Yu Gothic UI Semilight" panose="020B0400000000000000" pitchFamily="50" charset="-128"/>
              </a:endParaRPr>
            </a:p>
          </p:txBody>
        </p:sp>
        <p:sp>
          <p:nvSpPr>
            <p:cNvPr id="194" name="正方形/長方形 193">
              <a:extLst>
                <a:ext uri="{FF2B5EF4-FFF2-40B4-BE49-F238E27FC236}">
                  <a16:creationId xmlns:a16="http://schemas.microsoft.com/office/drawing/2014/main" id="{BA5A44C5-D6FD-423B-BE47-170971E9B1F6}"/>
                </a:ext>
              </a:extLst>
            </p:cNvPr>
            <p:cNvSpPr/>
            <p:nvPr/>
          </p:nvSpPr>
          <p:spPr bwMode="gray">
            <a:xfrm>
              <a:off x="3519856" y="2762373"/>
              <a:ext cx="346468" cy="61336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ja-JP"/>
              </a:defPPr>
              <a:lvl1pPr algn="ctr" rtl="0" fontAlgn="ctr">
                <a:spcBef>
                  <a:spcPct val="0"/>
                </a:spcBef>
                <a:spcAft>
                  <a:spcPct val="0"/>
                </a:spcAft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1pPr>
              <a:lvl2pPr marL="457200" algn="ctr" rtl="0" fontAlgn="ctr">
                <a:spcBef>
                  <a:spcPct val="0"/>
                </a:spcBef>
                <a:spcAft>
                  <a:spcPct val="0"/>
                </a:spcAft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2pPr>
              <a:lvl3pPr marL="914400" algn="ctr" rtl="0" fontAlgn="ctr">
                <a:spcBef>
                  <a:spcPct val="0"/>
                </a:spcBef>
                <a:spcAft>
                  <a:spcPct val="0"/>
                </a:spcAft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3pPr>
              <a:lvl4pPr marL="1371600" algn="ctr" rtl="0" fontAlgn="ctr">
                <a:spcBef>
                  <a:spcPct val="0"/>
                </a:spcBef>
                <a:spcAft>
                  <a:spcPct val="0"/>
                </a:spcAft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4pPr>
              <a:lvl5pPr marL="1828800" algn="ctr" rtl="0" fontAlgn="ctr">
                <a:spcBef>
                  <a:spcPct val="0"/>
                </a:spcBef>
                <a:spcAft>
                  <a:spcPct val="0"/>
                </a:spcAft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5pPr>
              <a:lvl6pPr marL="2286000" algn="l" defTabSz="914400" rtl="0" eaLnBrk="1" latinLnBrk="0" hangingPunct="1"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6pPr>
              <a:lvl7pPr marL="2743200" algn="l" defTabSz="914400" rtl="0" eaLnBrk="1" latinLnBrk="0" hangingPunct="1"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7pPr>
              <a:lvl8pPr marL="3200400" algn="l" defTabSz="914400" rtl="0" eaLnBrk="1" latinLnBrk="0" hangingPunct="1"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8pPr>
              <a:lvl9pPr marL="3657600" algn="l" defTabSz="914400" rtl="0" eaLnBrk="1" latinLnBrk="0" hangingPunct="1"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9pPr>
            </a:lstStyle>
            <a:p>
              <a:pPr marL="0" marR="0" lvl="0" indent="0" algn="ctr" defTabSz="913852" rtl="0" eaLnBrk="1" fontAlgn="ctr" latinLnBrk="0" hangingPunct="1">
                <a:lnSpc>
                  <a:spcPct val="7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32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Yu Gothic UI Semilight" panose="020B0400000000000000" pitchFamily="50" charset="-128"/>
                  <a:ea typeface="Yu Gothic UI Semilight" panose="020B0400000000000000" pitchFamily="50" charset="-128"/>
                </a:rPr>
                <a:t>sustainable</a:t>
              </a:r>
            </a:p>
            <a:p>
              <a:pPr marL="0" marR="0" lvl="0" indent="0" algn="ctr" defTabSz="913852" rtl="0" eaLnBrk="1" fontAlgn="ctr" latinLnBrk="0" hangingPunct="1">
                <a:lnSpc>
                  <a:spcPct val="7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32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Yu Gothic UI Semilight" panose="020B0400000000000000" pitchFamily="50" charset="-128"/>
                  <a:ea typeface="Yu Gothic UI Semilight" panose="020B0400000000000000" pitchFamily="50" charset="-128"/>
                </a:rPr>
                <a:t>Manufacturing</a:t>
              </a:r>
            </a:p>
          </p:txBody>
        </p:sp>
        <p:pic>
          <p:nvPicPr>
            <p:cNvPr id="195" name="Picture 2" descr="Onishi, Shunsuke/Shunsuke Onishi">
              <a:extLst>
                <a:ext uri="{FF2B5EF4-FFF2-40B4-BE49-F238E27FC236}">
                  <a16:creationId xmlns:a16="http://schemas.microsoft.com/office/drawing/2014/main" id="{7C05E9E3-5741-48CA-BE33-D7ABBF2E092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35" t="8595" r="23917" b="4307"/>
            <a:stretch/>
          </p:blipFill>
          <p:spPr bwMode="auto">
            <a:xfrm>
              <a:off x="3509227" y="2305897"/>
              <a:ext cx="367726" cy="427563"/>
            </a:xfrm>
            <a:prstGeom prst="ellipse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96" name="グループ化 195">
            <a:extLst>
              <a:ext uri="{FF2B5EF4-FFF2-40B4-BE49-F238E27FC236}">
                <a16:creationId xmlns:a16="http://schemas.microsoft.com/office/drawing/2014/main" id="{15EF6A98-7689-4358-B69E-65807D1B8FA2}"/>
              </a:ext>
            </a:extLst>
          </p:cNvPr>
          <p:cNvGrpSpPr/>
          <p:nvPr/>
        </p:nvGrpSpPr>
        <p:grpSpPr>
          <a:xfrm>
            <a:off x="5749173" y="3587477"/>
            <a:ext cx="328069" cy="587599"/>
            <a:chOff x="4028205" y="3193457"/>
            <a:chExt cx="354468" cy="634881"/>
          </a:xfrm>
        </p:grpSpPr>
        <p:sp>
          <p:nvSpPr>
            <p:cNvPr id="197" name="正方形/長方形 196">
              <a:extLst>
                <a:ext uri="{FF2B5EF4-FFF2-40B4-BE49-F238E27FC236}">
                  <a16:creationId xmlns:a16="http://schemas.microsoft.com/office/drawing/2014/main" id="{E3113C89-62BF-4263-93AC-7BB542B581EB}"/>
                </a:ext>
              </a:extLst>
            </p:cNvPr>
            <p:cNvSpPr/>
            <p:nvPr/>
          </p:nvSpPr>
          <p:spPr bwMode="gray">
            <a:xfrm>
              <a:off x="4069137" y="3746557"/>
              <a:ext cx="272606" cy="81781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ja-JP"/>
              </a:defPPr>
              <a:lvl1pPr algn="ctr" rtl="0" fontAlgn="ctr">
                <a:spcBef>
                  <a:spcPct val="0"/>
                </a:spcBef>
                <a:spcAft>
                  <a:spcPct val="0"/>
                </a:spcAft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1pPr>
              <a:lvl2pPr marL="457200" algn="ctr" rtl="0" fontAlgn="ctr">
                <a:spcBef>
                  <a:spcPct val="0"/>
                </a:spcBef>
                <a:spcAft>
                  <a:spcPct val="0"/>
                </a:spcAft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2pPr>
              <a:lvl3pPr marL="914400" algn="ctr" rtl="0" fontAlgn="ctr">
                <a:spcBef>
                  <a:spcPct val="0"/>
                </a:spcBef>
                <a:spcAft>
                  <a:spcPct val="0"/>
                </a:spcAft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3pPr>
              <a:lvl4pPr marL="1371600" algn="ctr" rtl="0" fontAlgn="ctr">
                <a:spcBef>
                  <a:spcPct val="0"/>
                </a:spcBef>
                <a:spcAft>
                  <a:spcPct val="0"/>
                </a:spcAft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4pPr>
              <a:lvl5pPr marL="1828800" algn="ctr" rtl="0" fontAlgn="ctr">
                <a:spcBef>
                  <a:spcPct val="0"/>
                </a:spcBef>
                <a:spcAft>
                  <a:spcPct val="0"/>
                </a:spcAft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5pPr>
              <a:lvl6pPr marL="2286000" algn="l" defTabSz="914400" rtl="0" eaLnBrk="1" latinLnBrk="0" hangingPunct="1"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6pPr>
              <a:lvl7pPr marL="2743200" algn="l" defTabSz="914400" rtl="0" eaLnBrk="1" latinLnBrk="0" hangingPunct="1"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7pPr>
              <a:lvl8pPr marL="3200400" algn="l" defTabSz="914400" rtl="0" eaLnBrk="1" latinLnBrk="0" hangingPunct="1"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8pPr>
              <a:lvl9pPr marL="3657600" algn="l" defTabSz="914400" rtl="0" eaLnBrk="1" latinLnBrk="0" hangingPunct="1"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9pPr>
            </a:lstStyle>
            <a:p>
              <a:pPr marL="0" marR="0" lvl="0" indent="0" algn="ctr" defTabSz="913852" rtl="0" eaLnBrk="1" fontAlgn="ctr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3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Yu Gothic UI Semilight" panose="020B0400000000000000" pitchFamily="50" charset="-128"/>
                  <a:ea typeface="Yu Gothic UI Semilight" panose="020B0400000000000000" pitchFamily="50" charset="-128"/>
                </a:rPr>
                <a:t>Corp. executive</a:t>
              </a:r>
            </a:p>
            <a:p>
              <a:pPr marL="0" marR="0" lvl="0" indent="0" algn="ctr" defTabSz="913852" rtl="0" eaLnBrk="1" fontAlgn="ctr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3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Yu Gothic UI Semilight" panose="020B0400000000000000" pitchFamily="50" charset="-128"/>
                  <a:ea typeface="Yu Gothic UI Semilight" panose="020B0400000000000000" pitchFamily="50" charset="-128"/>
                </a:rPr>
                <a:t>officer</a:t>
              </a:r>
              <a:r>
                <a:rPr kumimoji="1" lang="ja-JP" altLang="en-US" sz="3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Yu Gothic UI Semilight" panose="020B0400000000000000" pitchFamily="50" charset="-128"/>
                  <a:ea typeface="Yu Gothic UI Semilight" panose="020B0400000000000000" pitchFamily="50" charset="-128"/>
                </a:rPr>
                <a:t> </a:t>
              </a:r>
              <a:r>
                <a:rPr kumimoji="1" lang="ja-JP" altLang="en-US" sz="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Yu Gothic UI Semilight" panose="020B0400000000000000" pitchFamily="50" charset="-128"/>
                  <a:ea typeface="Yu Gothic UI Semilight" panose="020B0400000000000000" pitchFamily="50" charset="-128"/>
                </a:rPr>
                <a:t>Yamaguchi</a:t>
              </a:r>
            </a:p>
          </p:txBody>
        </p:sp>
        <p:sp>
          <p:nvSpPr>
            <p:cNvPr id="198" name="正方形/長方形 197">
              <a:extLst>
                <a:ext uri="{FF2B5EF4-FFF2-40B4-BE49-F238E27FC236}">
                  <a16:creationId xmlns:a16="http://schemas.microsoft.com/office/drawing/2014/main" id="{CF62A7B4-F05B-48C2-885C-3ED5C1325C88}"/>
                </a:ext>
              </a:extLst>
            </p:cNvPr>
            <p:cNvSpPr/>
            <p:nvPr/>
          </p:nvSpPr>
          <p:spPr bwMode="gray">
            <a:xfrm>
              <a:off x="4065265" y="3649933"/>
              <a:ext cx="280348" cy="61336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ja-JP"/>
              </a:defPPr>
              <a:lvl1pPr algn="ctr" rtl="0" fontAlgn="ctr">
                <a:spcBef>
                  <a:spcPct val="0"/>
                </a:spcBef>
                <a:spcAft>
                  <a:spcPct val="0"/>
                </a:spcAft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1pPr>
              <a:lvl2pPr marL="457200" algn="ctr" rtl="0" fontAlgn="ctr">
                <a:spcBef>
                  <a:spcPct val="0"/>
                </a:spcBef>
                <a:spcAft>
                  <a:spcPct val="0"/>
                </a:spcAft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2pPr>
              <a:lvl3pPr marL="914400" algn="ctr" rtl="0" fontAlgn="ctr">
                <a:spcBef>
                  <a:spcPct val="0"/>
                </a:spcBef>
                <a:spcAft>
                  <a:spcPct val="0"/>
                </a:spcAft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3pPr>
              <a:lvl4pPr marL="1371600" algn="ctr" rtl="0" fontAlgn="ctr">
                <a:spcBef>
                  <a:spcPct val="0"/>
                </a:spcBef>
                <a:spcAft>
                  <a:spcPct val="0"/>
                </a:spcAft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4pPr>
              <a:lvl5pPr marL="1828800" algn="ctr" rtl="0" fontAlgn="ctr">
                <a:spcBef>
                  <a:spcPct val="0"/>
                </a:spcBef>
                <a:spcAft>
                  <a:spcPct val="0"/>
                </a:spcAft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5pPr>
              <a:lvl6pPr marL="2286000" algn="l" defTabSz="914400" rtl="0" eaLnBrk="1" latinLnBrk="0" hangingPunct="1"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6pPr>
              <a:lvl7pPr marL="2743200" algn="l" defTabSz="914400" rtl="0" eaLnBrk="1" latinLnBrk="0" hangingPunct="1"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7pPr>
              <a:lvl8pPr marL="3200400" algn="l" defTabSz="914400" rtl="0" eaLnBrk="1" latinLnBrk="0" hangingPunct="1"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8pPr>
              <a:lvl9pPr marL="3657600" algn="l" defTabSz="914400" rtl="0" eaLnBrk="1" latinLnBrk="0" hangingPunct="1"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9pPr>
            </a:lstStyle>
            <a:p>
              <a:pPr marL="0" marR="0" lvl="0" indent="0" algn="ctr" defTabSz="913852" rtl="0" eaLnBrk="1" fontAlgn="ctr" latinLnBrk="0" hangingPunct="1">
                <a:lnSpc>
                  <a:spcPct val="7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32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Yu Gothic UI Semilight" panose="020B0400000000000000" pitchFamily="50" charset="-128"/>
                  <a:ea typeface="Yu Gothic UI Semilight" panose="020B0400000000000000" pitchFamily="50" charset="-128"/>
                </a:rPr>
                <a:t>Consumer</a:t>
              </a:r>
            </a:p>
            <a:p>
              <a:pPr marL="0" marR="0" lvl="0" indent="0" algn="ctr" defTabSz="913852" rtl="0" eaLnBrk="1" fontAlgn="ctr" latinLnBrk="0" hangingPunct="1">
                <a:lnSpc>
                  <a:spcPct val="7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32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Yu Gothic UI Semilight" panose="020B0400000000000000" pitchFamily="50" charset="-128"/>
                  <a:ea typeface="Yu Gothic UI Semilight" panose="020B0400000000000000" pitchFamily="50" charset="-128"/>
                </a:rPr>
                <a:t>Experience</a:t>
              </a:r>
            </a:p>
          </p:txBody>
        </p:sp>
        <p:pic>
          <p:nvPicPr>
            <p:cNvPr id="199" name="Picture 4" descr="Yamaguchi, Hirohisa/Hirohisa Yamaguchi">
              <a:extLst>
                <a:ext uri="{FF2B5EF4-FFF2-40B4-BE49-F238E27FC236}">
                  <a16:creationId xmlns:a16="http://schemas.microsoft.com/office/drawing/2014/main" id="{F37761F2-C650-41DF-B03B-1EF01BD0F682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8589" b="2374"/>
            <a:stretch/>
          </p:blipFill>
          <p:spPr bwMode="auto">
            <a:xfrm>
              <a:off x="4028205" y="3193457"/>
              <a:ext cx="354468" cy="427563"/>
            </a:xfrm>
            <a:prstGeom prst="ellipse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00" name="グループ化 199">
            <a:extLst>
              <a:ext uri="{FF2B5EF4-FFF2-40B4-BE49-F238E27FC236}">
                <a16:creationId xmlns:a16="http://schemas.microsoft.com/office/drawing/2014/main" id="{A08E0AFC-30C2-4224-99AE-35E06A9D0E26}"/>
              </a:ext>
            </a:extLst>
          </p:cNvPr>
          <p:cNvGrpSpPr/>
          <p:nvPr/>
        </p:nvGrpSpPr>
        <p:grpSpPr>
          <a:xfrm>
            <a:off x="6106095" y="3587477"/>
            <a:ext cx="331237" cy="585778"/>
            <a:chOff x="4397623" y="3195424"/>
            <a:chExt cx="357891" cy="632914"/>
          </a:xfrm>
        </p:grpSpPr>
        <p:sp>
          <p:nvSpPr>
            <p:cNvPr id="201" name="正方形/長方形 200">
              <a:extLst>
                <a:ext uri="{FF2B5EF4-FFF2-40B4-BE49-F238E27FC236}">
                  <a16:creationId xmlns:a16="http://schemas.microsoft.com/office/drawing/2014/main" id="{13C05B76-EB3A-4167-A9A0-5A5715465C9F}"/>
                </a:ext>
              </a:extLst>
            </p:cNvPr>
            <p:cNvSpPr/>
            <p:nvPr/>
          </p:nvSpPr>
          <p:spPr bwMode="gray">
            <a:xfrm>
              <a:off x="4440266" y="3746557"/>
              <a:ext cx="272606" cy="81781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ja-JP"/>
              </a:defPPr>
              <a:lvl1pPr algn="ctr" rtl="0" fontAlgn="ctr">
                <a:spcBef>
                  <a:spcPct val="0"/>
                </a:spcBef>
                <a:spcAft>
                  <a:spcPct val="0"/>
                </a:spcAft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1pPr>
              <a:lvl2pPr marL="457200" algn="ctr" rtl="0" fontAlgn="ctr">
                <a:spcBef>
                  <a:spcPct val="0"/>
                </a:spcBef>
                <a:spcAft>
                  <a:spcPct val="0"/>
                </a:spcAft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2pPr>
              <a:lvl3pPr marL="914400" algn="ctr" rtl="0" fontAlgn="ctr">
                <a:spcBef>
                  <a:spcPct val="0"/>
                </a:spcBef>
                <a:spcAft>
                  <a:spcPct val="0"/>
                </a:spcAft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3pPr>
              <a:lvl4pPr marL="1371600" algn="ctr" rtl="0" fontAlgn="ctr">
                <a:spcBef>
                  <a:spcPct val="0"/>
                </a:spcBef>
                <a:spcAft>
                  <a:spcPct val="0"/>
                </a:spcAft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4pPr>
              <a:lvl5pPr marL="1828800" algn="ctr" rtl="0" fontAlgn="ctr">
                <a:spcBef>
                  <a:spcPct val="0"/>
                </a:spcBef>
                <a:spcAft>
                  <a:spcPct val="0"/>
                </a:spcAft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5pPr>
              <a:lvl6pPr marL="2286000" algn="l" defTabSz="914400" rtl="0" eaLnBrk="1" latinLnBrk="0" hangingPunct="1"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6pPr>
              <a:lvl7pPr marL="2743200" algn="l" defTabSz="914400" rtl="0" eaLnBrk="1" latinLnBrk="0" hangingPunct="1"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7pPr>
              <a:lvl8pPr marL="3200400" algn="l" defTabSz="914400" rtl="0" eaLnBrk="1" latinLnBrk="0" hangingPunct="1"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8pPr>
              <a:lvl9pPr marL="3657600" algn="l" defTabSz="914400" rtl="0" eaLnBrk="1" latinLnBrk="0" hangingPunct="1"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9pPr>
            </a:lstStyle>
            <a:p>
              <a:pPr marL="0" marR="0" lvl="0" indent="0" algn="ctr" defTabSz="913852" rtl="0" eaLnBrk="1" fontAlgn="ctr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3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Yu Gothic UI Semilight" panose="020B0400000000000000" pitchFamily="50" charset="-128"/>
                  <a:ea typeface="Yu Gothic UI Semilight" panose="020B0400000000000000" pitchFamily="50" charset="-128"/>
                </a:rPr>
                <a:t>Corp. executive</a:t>
              </a:r>
            </a:p>
            <a:p>
              <a:pPr marL="0" marR="0" lvl="0" indent="0" algn="ctr" defTabSz="913852" rtl="0" eaLnBrk="1" fontAlgn="ctr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3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Yu Gothic UI Semilight" panose="020B0400000000000000" pitchFamily="50" charset="-128"/>
                  <a:ea typeface="Yu Gothic UI Semilight" panose="020B0400000000000000" pitchFamily="50" charset="-128"/>
                </a:rPr>
                <a:t>officer</a:t>
              </a:r>
              <a:r>
                <a:rPr kumimoji="1" lang="ja-JP" altLang="en-US" sz="3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Yu Gothic UI Semilight" panose="020B0400000000000000" pitchFamily="50" charset="-128"/>
                  <a:ea typeface="Yu Gothic UI Semilight" panose="020B0400000000000000" pitchFamily="50" charset="-128"/>
                </a:rPr>
                <a:t> </a:t>
              </a:r>
              <a:r>
                <a:rPr kumimoji="1" lang="ja-JP" altLang="en-US" sz="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Yu Gothic UI Semilight" panose="020B0400000000000000" pitchFamily="50" charset="-128"/>
                  <a:ea typeface="Yu Gothic UI Semilight" panose="020B0400000000000000" pitchFamily="50" charset="-128"/>
                </a:rPr>
                <a:t>Takahashi</a:t>
              </a:r>
            </a:p>
          </p:txBody>
        </p:sp>
        <p:sp>
          <p:nvSpPr>
            <p:cNvPr id="202" name="正方形/長方形 201">
              <a:extLst>
                <a:ext uri="{FF2B5EF4-FFF2-40B4-BE49-F238E27FC236}">
                  <a16:creationId xmlns:a16="http://schemas.microsoft.com/office/drawing/2014/main" id="{ACBA9120-FB0F-4D58-95B1-FDD877791E99}"/>
                </a:ext>
              </a:extLst>
            </p:cNvPr>
            <p:cNvSpPr/>
            <p:nvPr/>
          </p:nvSpPr>
          <p:spPr bwMode="gray">
            <a:xfrm>
              <a:off x="4430682" y="3649933"/>
              <a:ext cx="291773" cy="61336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ja-JP"/>
              </a:defPPr>
              <a:lvl1pPr algn="ctr" rtl="0" fontAlgn="ctr">
                <a:spcBef>
                  <a:spcPct val="0"/>
                </a:spcBef>
                <a:spcAft>
                  <a:spcPct val="0"/>
                </a:spcAft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1pPr>
              <a:lvl2pPr marL="457200" algn="ctr" rtl="0" fontAlgn="ctr">
                <a:spcBef>
                  <a:spcPct val="0"/>
                </a:spcBef>
                <a:spcAft>
                  <a:spcPct val="0"/>
                </a:spcAft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2pPr>
              <a:lvl3pPr marL="914400" algn="ctr" rtl="0" fontAlgn="ctr">
                <a:spcBef>
                  <a:spcPct val="0"/>
                </a:spcBef>
                <a:spcAft>
                  <a:spcPct val="0"/>
                </a:spcAft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3pPr>
              <a:lvl4pPr marL="1371600" algn="ctr" rtl="0" fontAlgn="ctr">
                <a:spcBef>
                  <a:spcPct val="0"/>
                </a:spcBef>
                <a:spcAft>
                  <a:spcPct val="0"/>
                </a:spcAft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4pPr>
              <a:lvl5pPr marL="1828800" algn="ctr" rtl="0" fontAlgn="ctr">
                <a:spcBef>
                  <a:spcPct val="0"/>
                </a:spcBef>
                <a:spcAft>
                  <a:spcPct val="0"/>
                </a:spcAft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5pPr>
              <a:lvl6pPr marL="2286000" algn="l" defTabSz="914400" rtl="0" eaLnBrk="1" latinLnBrk="0" hangingPunct="1"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6pPr>
              <a:lvl7pPr marL="2743200" algn="l" defTabSz="914400" rtl="0" eaLnBrk="1" latinLnBrk="0" hangingPunct="1"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7pPr>
              <a:lvl8pPr marL="3200400" algn="l" defTabSz="914400" rtl="0" eaLnBrk="1" latinLnBrk="0" hangingPunct="1"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8pPr>
              <a:lvl9pPr marL="3657600" algn="l" defTabSz="914400" rtl="0" eaLnBrk="1" latinLnBrk="0" hangingPunct="1"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9pPr>
            </a:lstStyle>
            <a:p>
              <a:pPr marL="0" marR="0" lvl="0" indent="0" algn="ctr" defTabSz="913852" rtl="0" eaLnBrk="1" fontAlgn="ctr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32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Yu Gothic UI Semilight" panose="020B0400000000000000" pitchFamily="50" charset="-128"/>
                  <a:ea typeface="Yu Gothic UI Semilight" panose="020B0400000000000000" pitchFamily="50" charset="-128"/>
                </a:rPr>
                <a:t>Healthy Living</a:t>
              </a:r>
            </a:p>
          </p:txBody>
        </p:sp>
        <p:pic>
          <p:nvPicPr>
            <p:cNvPr id="203" name="Picture 6" descr="User photo">
              <a:extLst>
                <a:ext uri="{FF2B5EF4-FFF2-40B4-BE49-F238E27FC236}">
                  <a16:creationId xmlns:a16="http://schemas.microsoft.com/office/drawing/2014/main" id="{1C5EDE13-92D3-4FFC-A2E6-C3861C9ACEA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633" r="11233"/>
            <a:stretch/>
          </p:blipFill>
          <p:spPr bwMode="auto">
            <a:xfrm>
              <a:off x="4397623" y="3195424"/>
              <a:ext cx="357891" cy="423628"/>
            </a:xfrm>
            <a:prstGeom prst="ellipse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04" name="グループ化 203">
            <a:extLst>
              <a:ext uri="{FF2B5EF4-FFF2-40B4-BE49-F238E27FC236}">
                <a16:creationId xmlns:a16="http://schemas.microsoft.com/office/drawing/2014/main" id="{1AB7E09E-34C2-4CE3-8AE9-F106E445995F}"/>
              </a:ext>
            </a:extLst>
          </p:cNvPr>
          <p:cNvGrpSpPr/>
          <p:nvPr/>
        </p:nvGrpSpPr>
        <p:grpSpPr>
          <a:xfrm>
            <a:off x="6466441" y="3587477"/>
            <a:ext cx="325755" cy="585778"/>
            <a:chOff x="4770462" y="3195424"/>
            <a:chExt cx="351968" cy="632914"/>
          </a:xfrm>
        </p:grpSpPr>
        <p:sp>
          <p:nvSpPr>
            <p:cNvPr id="205" name="正方形/長方形 204">
              <a:extLst>
                <a:ext uri="{FF2B5EF4-FFF2-40B4-BE49-F238E27FC236}">
                  <a16:creationId xmlns:a16="http://schemas.microsoft.com/office/drawing/2014/main" id="{C2B94EEC-0EA7-4C10-A126-3B0D0A526C03}"/>
                </a:ext>
              </a:extLst>
            </p:cNvPr>
            <p:cNvSpPr/>
            <p:nvPr/>
          </p:nvSpPr>
          <p:spPr bwMode="gray">
            <a:xfrm>
              <a:off x="4844220" y="3746557"/>
              <a:ext cx="204454" cy="81781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ja-JP"/>
              </a:defPPr>
              <a:lvl1pPr algn="ctr" rtl="0" fontAlgn="ctr">
                <a:spcBef>
                  <a:spcPct val="0"/>
                </a:spcBef>
                <a:spcAft>
                  <a:spcPct val="0"/>
                </a:spcAft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1pPr>
              <a:lvl2pPr marL="457200" algn="ctr" rtl="0" fontAlgn="ctr">
                <a:spcBef>
                  <a:spcPct val="0"/>
                </a:spcBef>
                <a:spcAft>
                  <a:spcPct val="0"/>
                </a:spcAft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2pPr>
              <a:lvl3pPr marL="914400" algn="ctr" rtl="0" fontAlgn="ctr">
                <a:spcBef>
                  <a:spcPct val="0"/>
                </a:spcBef>
                <a:spcAft>
                  <a:spcPct val="0"/>
                </a:spcAft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3pPr>
              <a:lvl4pPr marL="1371600" algn="ctr" rtl="0" fontAlgn="ctr">
                <a:spcBef>
                  <a:spcPct val="0"/>
                </a:spcBef>
                <a:spcAft>
                  <a:spcPct val="0"/>
                </a:spcAft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4pPr>
              <a:lvl5pPr marL="1828800" algn="ctr" rtl="0" fontAlgn="ctr">
                <a:spcBef>
                  <a:spcPct val="0"/>
                </a:spcBef>
                <a:spcAft>
                  <a:spcPct val="0"/>
                </a:spcAft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5pPr>
              <a:lvl6pPr marL="2286000" algn="l" defTabSz="914400" rtl="0" eaLnBrk="1" latinLnBrk="0" hangingPunct="1"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6pPr>
              <a:lvl7pPr marL="2743200" algn="l" defTabSz="914400" rtl="0" eaLnBrk="1" latinLnBrk="0" hangingPunct="1"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7pPr>
              <a:lvl8pPr marL="3200400" algn="l" defTabSz="914400" rtl="0" eaLnBrk="1" latinLnBrk="0" hangingPunct="1"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8pPr>
              <a:lvl9pPr marL="3657600" algn="l" defTabSz="914400" rtl="0" eaLnBrk="1" latinLnBrk="0" hangingPunct="1"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9pPr>
            </a:lstStyle>
            <a:p>
              <a:pPr marL="0" marR="0" lvl="0" indent="0" algn="ctr" defTabSz="913852" rtl="0" eaLnBrk="1" fontAlgn="ctr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3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Yu Gothic UI Semilight" panose="020B0400000000000000" pitchFamily="50" charset="-128"/>
                  <a:ea typeface="Yu Gothic UI Semilight" panose="020B0400000000000000" pitchFamily="50" charset="-128"/>
                </a:rPr>
                <a:t>Corp. executive </a:t>
              </a:r>
            </a:p>
            <a:p>
              <a:pPr marL="0" marR="0" lvl="0" indent="0" algn="ctr" defTabSz="913852" rtl="0" eaLnBrk="1" fontAlgn="ctr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3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Yu Gothic UI Semilight" panose="020B0400000000000000" pitchFamily="50" charset="-128"/>
                  <a:ea typeface="Yu Gothic UI Semilight" panose="020B0400000000000000" pitchFamily="50" charset="-128"/>
                </a:rPr>
                <a:t>Officer </a:t>
              </a:r>
              <a:r>
                <a:rPr kumimoji="1" lang="ja-JP" altLang="en-US" sz="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Yu Gothic UI Semilight" panose="020B0400000000000000" pitchFamily="50" charset="-128"/>
                  <a:ea typeface="Yu Gothic UI Semilight" panose="020B0400000000000000" pitchFamily="50" charset="-128"/>
                </a:rPr>
                <a:t>Hayashi</a:t>
              </a:r>
            </a:p>
          </p:txBody>
        </p:sp>
        <p:sp>
          <p:nvSpPr>
            <p:cNvPr id="206" name="正方形/長方形 205">
              <a:extLst>
                <a:ext uri="{FF2B5EF4-FFF2-40B4-BE49-F238E27FC236}">
                  <a16:creationId xmlns:a16="http://schemas.microsoft.com/office/drawing/2014/main" id="{40FCBFFD-B1BE-479F-B489-1B8DA6E97472}"/>
                </a:ext>
              </a:extLst>
            </p:cNvPr>
            <p:cNvSpPr/>
            <p:nvPr/>
          </p:nvSpPr>
          <p:spPr bwMode="gray">
            <a:xfrm>
              <a:off x="4786717" y="3649933"/>
              <a:ext cx="319459" cy="61336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ja-JP"/>
              </a:defPPr>
              <a:lvl1pPr algn="ctr" rtl="0" fontAlgn="ctr">
                <a:spcBef>
                  <a:spcPct val="0"/>
                </a:spcBef>
                <a:spcAft>
                  <a:spcPct val="0"/>
                </a:spcAft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1pPr>
              <a:lvl2pPr marL="457200" algn="ctr" rtl="0" fontAlgn="ctr">
                <a:spcBef>
                  <a:spcPct val="0"/>
                </a:spcBef>
                <a:spcAft>
                  <a:spcPct val="0"/>
                </a:spcAft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2pPr>
              <a:lvl3pPr marL="914400" algn="ctr" rtl="0" fontAlgn="ctr">
                <a:spcBef>
                  <a:spcPct val="0"/>
                </a:spcBef>
                <a:spcAft>
                  <a:spcPct val="0"/>
                </a:spcAft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3pPr>
              <a:lvl4pPr marL="1371600" algn="ctr" rtl="0" fontAlgn="ctr">
                <a:spcBef>
                  <a:spcPct val="0"/>
                </a:spcBef>
                <a:spcAft>
                  <a:spcPct val="0"/>
                </a:spcAft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4pPr>
              <a:lvl5pPr marL="1828800" algn="ctr" rtl="0" fontAlgn="ctr">
                <a:spcBef>
                  <a:spcPct val="0"/>
                </a:spcBef>
                <a:spcAft>
                  <a:spcPct val="0"/>
                </a:spcAft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5pPr>
              <a:lvl6pPr marL="2286000" algn="l" defTabSz="914400" rtl="0" eaLnBrk="1" latinLnBrk="0" hangingPunct="1"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6pPr>
              <a:lvl7pPr marL="2743200" algn="l" defTabSz="914400" rtl="0" eaLnBrk="1" latinLnBrk="0" hangingPunct="1"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7pPr>
              <a:lvl8pPr marL="3200400" algn="l" defTabSz="914400" rtl="0" eaLnBrk="1" latinLnBrk="0" hangingPunct="1"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8pPr>
              <a:lvl9pPr marL="3657600" algn="l" defTabSz="914400" rtl="0" eaLnBrk="1" latinLnBrk="0" hangingPunct="1"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9pPr>
            </a:lstStyle>
            <a:p>
              <a:pPr marL="0" marR="0" lvl="0" indent="0" algn="ctr" defTabSz="913852" rtl="0" eaLnBrk="1" fontAlgn="ctr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32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Yu Gothic UI Semilight" panose="020B0400000000000000" pitchFamily="50" charset="-128"/>
                  <a:ea typeface="Yu Gothic UI Semilight" panose="020B0400000000000000" pitchFamily="50" charset="-128"/>
                </a:rPr>
                <a:t>Trusted Society</a:t>
              </a:r>
            </a:p>
          </p:txBody>
        </p:sp>
        <p:pic>
          <p:nvPicPr>
            <p:cNvPr id="207" name="Picture 8" descr="User photo">
              <a:extLst>
                <a:ext uri="{FF2B5EF4-FFF2-40B4-BE49-F238E27FC236}">
                  <a16:creationId xmlns:a16="http://schemas.microsoft.com/office/drawing/2014/main" id="{FE6EF028-7537-4B5B-9A86-6059E5A6DAC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694" t="11255" r="24510" b="42251"/>
            <a:stretch/>
          </p:blipFill>
          <p:spPr bwMode="auto">
            <a:xfrm>
              <a:off x="4770462" y="3195424"/>
              <a:ext cx="351968" cy="423628"/>
            </a:xfrm>
            <a:prstGeom prst="ellipse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08" name="グループ化 207">
            <a:extLst>
              <a:ext uri="{FF2B5EF4-FFF2-40B4-BE49-F238E27FC236}">
                <a16:creationId xmlns:a16="http://schemas.microsoft.com/office/drawing/2014/main" id="{BE95219B-2D1E-4172-A559-D98F9E15778F}"/>
              </a:ext>
            </a:extLst>
          </p:cNvPr>
          <p:cNvGrpSpPr/>
          <p:nvPr/>
        </p:nvGrpSpPr>
        <p:grpSpPr>
          <a:xfrm>
            <a:off x="5385943" y="4266410"/>
            <a:ext cx="325756" cy="584704"/>
            <a:chOff x="5137380" y="3196585"/>
            <a:chExt cx="351968" cy="631753"/>
          </a:xfrm>
        </p:grpSpPr>
        <p:sp>
          <p:nvSpPr>
            <p:cNvPr id="209" name="正方形/長方形 208">
              <a:extLst>
                <a:ext uri="{FF2B5EF4-FFF2-40B4-BE49-F238E27FC236}">
                  <a16:creationId xmlns:a16="http://schemas.microsoft.com/office/drawing/2014/main" id="{D232501F-2220-48AF-A499-3760393B7BB6}"/>
                </a:ext>
              </a:extLst>
            </p:cNvPr>
            <p:cNvSpPr/>
            <p:nvPr/>
          </p:nvSpPr>
          <p:spPr bwMode="gray">
            <a:xfrm>
              <a:off x="5177062" y="3746556"/>
              <a:ext cx="272606" cy="81782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ja-JP"/>
              </a:defPPr>
              <a:lvl1pPr algn="ctr" rtl="0" fontAlgn="ctr">
                <a:spcBef>
                  <a:spcPct val="0"/>
                </a:spcBef>
                <a:spcAft>
                  <a:spcPct val="0"/>
                </a:spcAft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1pPr>
              <a:lvl2pPr marL="457200" algn="ctr" rtl="0" fontAlgn="ctr">
                <a:spcBef>
                  <a:spcPct val="0"/>
                </a:spcBef>
                <a:spcAft>
                  <a:spcPct val="0"/>
                </a:spcAft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2pPr>
              <a:lvl3pPr marL="914400" algn="ctr" rtl="0" fontAlgn="ctr">
                <a:spcBef>
                  <a:spcPct val="0"/>
                </a:spcBef>
                <a:spcAft>
                  <a:spcPct val="0"/>
                </a:spcAft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3pPr>
              <a:lvl4pPr marL="1371600" algn="ctr" rtl="0" fontAlgn="ctr">
                <a:spcBef>
                  <a:spcPct val="0"/>
                </a:spcBef>
                <a:spcAft>
                  <a:spcPct val="0"/>
                </a:spcAft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4pPr>
              <a:lvl5pPr marL="1828800" algn="ctr" rtl="0" fontAlgn="ctr">
                <a:spcBef>
                  <a:spcPct val="0"/>
                </a:spcBef>
                <a:spcAft>
                  <a:spcPct val="0"/>
                </a:spcAft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5pPr>
              <a:lvl6pPr marL="2286000" algn="l" defTabSz="914400" rtl="0" eaLnBrk="1" latinLnBrk="0" hangingPunct="1"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6pPr>
              <a:lvl7pPr marL="2743200" algn="l" defTabSz="914400" rtl="0" eaLnBrk="1" latinLnBrk="0" hangingPunct="1"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7pPr>
              <a:lvl8pPr marL="3200400" algn="l" defTabSz="914400" rtl="0" eaLnBrk="1" latinLnBrk="0" hangingPunct="1"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8pPr>
              <a:lvl9pPr marL="3657600" algn="l" defTabSz="914400" rtl="0" eaLnBrk="1" latinLnBrk="0" hangingPunct="1"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9pPr>
            </a:lstStyle>
            <a:p>
              <a:pPr marL="0" marR="0" lvl="0" indent="0" algn="ctr" defTabSz="913852" rtl="0" eaLnBrk="1" fontAlgn="ctr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3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Yu Gothic UI Semilight" panose="020B0400000000000000" pitchFamily="50" charset="-128"/>
                  <a:ea typeface="Yu Gothic UI Semilight" panose="020B0400000000000000" pitchFamily="50" charset="-128"/>
                </a:rPr>
                <a:t>Corp. executive</a:t>
              </a:r>
            </a:p>
            <a:p>
              <a:pPr marL="0" marR="0" lvl="0" indent="0" algn="ctr" defTabSz="913852" rtl="0" eaLnBrk="1" fontAlgn="ctr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3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Yu Gothic UI Semilight" panose="020B0400000000000000" pitchFamily="50" charset="-128"/>
                  <a:ea typeface="Yu Gothic UI Semilight" panose="020B0400000000000000" pitchFamily="50" charset="-128"/>
                </a:rPr>
                <a:t>Officer </a:t>
              </a:r>
              <a:r>
                <a:rPr kumimoji="1" lang="ja-JP" altLang="en-US" sz="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Yu Gothic UI Semilight" panose="020B0400000000000000" pitchFamily="50" charset="-128"/>
                  <a:ea typeface="Yu Gothic UI Semilight" panose="020B0400000000000000" pitchFamily="50" charset="-128"/>
                </a:rPr>
                <a:t> Fukuda</a:t>
              </a:r>
            </a:p>
          </p:txBody>
        </p:sp>
        <p:sp>
          <p:nvSpPr>
            <p:cNvPr id="210" name="正方形/長方形 209">
              <a:extLst>
                <a:ext uri="{FF2B5EF4-FFF2-40B4-BE49-F238E27FC236}">
                  <a16:creationId xmlns:a16="http://schemas.microsoft.com/office/drawing/2014/main" id="{0BB76BC2-3B52-4813-95B6-D68D113692D6}"/>
                </a:ext>
              </a:extLst>
            </p:cNvPr>
            <p:cNvSpPr/>
            <p:nvPr/>
          </p:nvSpPr>
          <p:spPr bwMode="gray">
            <a:xfrm>
              <a:off x="5183451" y="3649933"/>
              <a:ext cx="259827" cy="61336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ja-JP"/>
              </a:defPPr>
              <a:lvl1pPr algn="ctr" rtl="0" fontAlgn="ctr">
                <a:spcBef>
                  <a:spcPct val="0"/>
                </a:spcBef>
                <a:spcAft>
                  <a:spcPct val="0"/>
                </a:spcAft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1pPr>
              <a:lvl2pPr marL="457200" algn="ctr" rtl="0" fontAlgn="ctr">
                <a:spcBef>
                  <a:spcPct val="0"/>
                </a:spcBef>
                <a:spcAft>
                  <a:spcPct val="0"/>
                </a:spcAft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2pPr>
              <a:lvl3pPr marL="914400" algn="ctr" rtl="0" fontAlgn="ctr">
                <a:spcBef>
                  <a:spcPct val="0"/>
                </a:spcBef>
                <a:spcAft>
                  <a:spcPct val="0"/>
                </a:spcAft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3pPr>
              <a:lvl4pPr marL="1371600" algn="ctr" rtl="0" fontAlgn="ctr">
                <a:spcBef>
                  <a:spcPct val="0"/>
                </a:spcBef>
                <a:spcAft>
                  <a:spcPct val="0"/>
                </a:spcAft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4pPr>
              <a:lvl5pPr marL="1828800" algn="ctr" rtl="0" fontAlgn="ctr">
                <a:spcBef>
                  <a:spcPct val="0"/>
                </a:spcBef>
                <a:spcAft>
                  <a:spcPct val="0"/>
                </a:spcAft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5pPr>
              <a:lvl6pPr marL="2286000" algn="l" defTabSz="914400" rtl="0" eaLnBrk="1" latinLnBrk="0" hangingPunct="1"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6pPr>
              <a:lvl7pPr marL="2743200" algn="l" defTabSz="914400" rtl="0" eaLnBrk="1" latinLnBrk="0" hangingPunct="1"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7pPr>
              <a:lvl8pPr marL="3200400" algn="l" defTabSz="914400" rtl="0" eaLnBrk="1" latinLnBrk="0" hangingPunct="1"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8pPr>
              <a:lvl9pPr marL="3657600" algn="l" defTabSz="914400" rtl="0" eaLnBrk="1" latinLnBrk="0" hangingPunct="1"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9pPr>
            </a:lstStyle>
            <a:p>
              <a:pPr marL="0" marR="0" lvl="0" indent="0" algn="ctr" defTabSz="913852" rtl="0" eaLnBrk="1" fontAlgn="ctr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32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Yu Gothic UI Semilight" panose="020B0400000000000000" pitchFamily="50" charset="-128"/>
                  <a:ea typeface="Yu Gothic UI Semilight" panose="020B0400000000000000" pitchFamily="50" charset="-128"/>
                </a:rPr>
                <a:t>Digital Shifts</a:t>
              </a:r>
            </a:p>
          </p:txBody>
        </p:sp>
        <p:pic>
          <p:nvPicPr>
            <p:cNvPr id="211" name="Picture 10" descr="Fukuda, Yuzuru/Yuzuru Fukuda">
              <a:extLst>
                <a:ext uri="{FF2B5EF4-FFF2-40B4-BE49-F238E27FC236}">
                  <a16:creationId xmlns:a16="http://schemas.microsoft.com/office/drawing/2014/main" id="{88AA61D8-64F1-4888-AB21-E7EEF1FC8CA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3991"/>
            <a:stretch/>
          </p:blipFill>
          <p:spPr bwMode="auto">
            <a:xfrm>
              <a:off x="5137380" y="3196585"/>
              <a:ext cx="351968" cy="421305"/>
            </a:xfrm>
            <a:prstGeom prst="ellipse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12" name="グループ化 211">
            <a:extLst>
              <a:ext uri="{FF2B5EF4-FFF2-40B4-BE49-F238E27FC236}">
                <a16:creationId xmlns:a16="http://schemas.microsoft.com/office/drawing/2014/main" id="{63B0392C-857F-4CFB-B639-997BA454B517}"/>
              </a:ext>
            </a:extLst>
          </p:cNvPr>
          <p:cNvGrpSpPr/>
          <p:nvPr/>
        </p:nvGrpSpPr>
        <p:grpSpPr>
          <a:xfrm>
            <a:off x="5694333" y="4266409"/>
            <a:ext cx="411965" cy="587599"/>
            <a:chOff x="5458095" y="3193457"/>
            <a:chExt cx="445114" cy="634881"/>
          </a:xfrm>
        </p:grpSpPr>
        <p:sp>
          <p:nvSpPr>
            <p:cNvPr id="213" name="正方形/長方形 212">
              <a:extLst>
                <a:ext uri="{FF2B5EF4-FFF2-40B4-BE49-F238E27FC236}">
                  <a16:creationId xmlns:a16="http://schemas.microsoft.com/office/drawing/2014/main" id="{95501132-FCF7-4FB7-A25A-899E528C20E6}"/>
                </a:ext>
              </a:extLst>
            </p:cNvPr>
            <p:cNvSpPr/>
            <p:nvPr/>
          </p:nvSpPr>
          <p:spPr bwMode="gray">
            <a:xfrm>
              <a:off x="5516130" y="3746557"/>
              <a:ext cx="329043" cy="81781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ja-JP"/>
              </a:defPPr>
              <a:lvl1pPr algn="ctr" rtl="0" fontAlgn="ctr">
                <a:spcBef>
                  <a:spcPct val="0"/>
                </a:spcBef>
                <a:spcAft>
                  <a:spcPct val="0"/>
                </a:spcAft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1pPr>
              <a:lvl2pPr marL="457200" algn="ctr" rtl="0" fontAlgn="ctr">
                <a:spcBef>
                  <a:spcPct val="0"/>
                </a:spcBef>
                <a:spcAft>
                  <a:spcPct val="0"/>
                </a:spcAft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2pPr>
              <a:lvl3pPr marL="914400" algn="ctr" rtl="0" fontAlgn="ctr">
                <a:spcBef>
                  <a:spcPct val="0"/>
                </a:spcBef>
                <a:spcAft>
                  <a:spcPct val="0"/>
                </a:spcAft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3pPr>
              <a:lvl4pPr marL="1371600" algn="ctr" rtl="0" fontAlgn="ctr">
                <a:spcBef>
                  <a:spcPct val="0"/>
                </a:spcBef>
                <a:spcAft>
                  <a:spcPct val="0"/>
                </a:spcAft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4pPr>
              <a:lvl5pPr marL="1828800" algn="ctr" rtl="0" fontAlgn="ctr">
                <a:spcBef>
                  <a:spcPct val="0"/>
                </a:spcBef>
                <a:spcAft>
                  <a:spcPct val="0"/>
                </a:spcAft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5pPr>
              <a:lvl6pPr marL="2286000" algn="l" defTabSz="914400" rtl="0" eaLnBrk="1" latinLnBrk="0" hangingPunct="1"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6pPr>
              <a:lvl7pPr marL="2743200" algn="l" defTabSz="914400" rtl="0" eaLnBrk="1" latinLnBrk="0" hangingPunct="1"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7pPr>
              <a:lvl8pPr marL="3200400" algn="l" defTabSz="914400" rtl="0" eaLnBrk="1" latinLnBrk="0" hangingPunct="1"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8pPr>
              <a:lvl9pPr marL="3657600" algn="l" defTabSz="914400" rtl="0" eaLnBrk="1" latinLnBrk="0" hangingPunct="1"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9pPr>
            </a:lstStyle>
            <a:p>
              <a:pPr marL="0" marR="0" lvl="0" indent="0" algn="ctr" defTabSz="913852" rtl="0" eaLnBrk="1" fontAlgn="ctr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3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Yu Gothic UI Semilight" panose="020B0400000000000000" pitchFamily="50" charset="-128"/>
                  <a:ea typeface="Yu Gothic UI Semilight" panose="020B0400000000000000" pitchFamily="50" charset="-128"/>
                </a:rPr>
                <a:t>Corp. executive</a:t>
              </a:r>
            </a:p>
            <a:p>
              <a:pPr marL="0" marR="0" lvl="0" indent="0" algn="ctr" defTabSz="913852" rtl="0" eaLnBrk="1" fontAlgn="ctr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3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Yu Gothic UI Semilight" panose="020B0400000000000000" pitchFamily="50" charset="-128"/>
                  <a:ea typeface="Yu Gothic UI Semilight" panose="020B0400000000000000" pitchFamily="50" charset="-128"/>
                </a:rPr>
                <a:t>officer  </a:t>
              </a:r>
              <a:r>
                <a:rPr kumimoji="1" lang="en-US" altLang="ja-JP" sz="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Yu Gothic UI Semilight" panose="020B0400000000000000" pitchFamily="50" charset="-128"/>
                  <a:ea typeface="Yu Gothic UI Semilight" panose="020B0400000000000000" pitchFamily="50" charset="-128"/>
                </a:rPr>
                <a:t>White</a:t>
              </a:r>
            </a:p>
          </p:txBody>
        </p:sp>
        <p:sp>
          <p:nvSpPr>
            <p:cNvPr id="214" name="正方形/長方形 213">
              <a:extLst>
                <a:ext uri="{FF2B5EF4-FFF2-40B4-BE49-F238E27FC236}">
                  <a16:creationId xmlns:a16="http://schemas.microsoft.com/office/drawing/2014/main" id="{78393FCB-C6DF-4705-BE25-5B9EFA8195E9}"/>
                </a:ext>
              </a:extLst>
            </p:cNvPr>
            <p:cNvSpPr/>
            <p:nvPr/>
          </p:nvSpPr>
          <p:spPr bwMode="gray">
            <a:xfrm>
              <a:off x="5458095" y="3649933"/>
              <a:ext cx="445114" cy="61336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ja-JP"/>
              </a:defPPr>
              <a:lvl1pPr algn="ctr" rtl="0" fontAlgn="ctr">
                <a:spcBef>
                  <a:spcPct val="0"/>
                </a:spcBef>
                <a:spcAft>
                  <a:spcPct val="0"/>
                </a:spcAft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1pPr>
              <a:lvl2pPr marL="457200" algn="ctr" rtl="0" fontAlgn="ctr">
                <a:spcBef>
                  <a:spcPct val="0"/>
                </a:spcBef>
                <a:spcAft>
                  <a:spcPct val="0"/>
                </a:spcAft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2pPr>
              <a:lvl3pPr marL="914400" algn="ctr" rtl="0" fontAlgn="ctr">
                <a:spcBef>
                  <a:spcPct val="0"/>
                </a:spcBef>
                <a:spcAft>
                  <a:spcPct val="0"/>
                </a:spcAft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3pPr>
              <a:lvl4pPr marL="1371600" algn="ctr" rtl="0" fontAlgn="ctr">
                <a:spcBef>
                  <a:spcPct val="0"/>
                </a:spcBef>
                <a:spcAft>
                  <a:spcPct val="0"/>
                </a:spcAft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4pPr>
              <a:lvl5pPr marL="1828800" algn="ctr" rtl="0" fontAlgn="ctr">
                <a:spcBef>
                  <a:spcPct val="0"/>
                </a:spcBef>
                <a:spcAft>
                  <a:spcPct val="0"/>
                </a:spcAft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5pPr>
              <a:lvl6pPr marL="2286000" algn="l" defTabSz="914400" rtl="0" eaLnBrk="1" latinLnBrk="0" hangingPunct="1"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6pPr>
              <a:lvl7pPr marL="2743200" algn="l" defTabSz="914400" rtl="0" eaLnBrk="1" latinLnBrk="0" hangingPunct="1"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7pPr>
              <a:lvl8pPr marL="3200400" algn="l" defTabSz="914400" rtl="0" eaLnBrk="1" latinLnBrk="0" hangingPunct="1"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8pPr>
              <a:lvl9pPr marL="3657600" algn="l" defTabSz="914400" rtl="0" eaLnBrk="1" latinLnBrk="0" hangingPunct="1"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9pPr>
            </a:lstStyle>
            <a:p>
              <a:pPr marL="0" marR="0" lvl="0" indent="0" algn="ctr" defTabSz="913852" rtl="0" eaLnBrk="1" fontAlgn="ctr" latinLnBrk="0" hangingPunct="1">
                <a:lnSpc>
                  <a:spcPct val="7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32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Yu Gothic UI Semilight" panose="020B0400000000000000" pitchFamily="50" charset="-128"/>
                  <a:ea typeface="Yu Gothic UI Semilight" panose="020B0400000000000000" pitchFamily="50" charset="-128"/>
                </a:rPr>
                <a:t>Business</a:t>
              </a:r>
            </a:p>
            <a:p>
              <a:pPr marL="0" marR="0" lvl="0" indent="0" algn="ctr" defTabSz="913852" rtl="0" eaLnBrk="1" fontAlgn="ctr" latinLnBrk="0" hangingPunct="1">
                <a:lnSpc>
                  <a:spcPct val="7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32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Yu Gothic UI Semilight" panose="020B0400000000000000" pitchFamily="50" charset="-128"/>
                  <a:ea typeface="Yu Gothic UI Semilight" panose="020B0400000000000000" pitchFamily="50" charset="-128"/>
                </a:rPr>
                <a:t>Applications</a:t>
              </a:r>
            </a:p>
          </p:txBody>
        </p:sp>
        <p:pic>
          <p:nvPicPr>
            <p:cNvPr id="215" name="Picture 12">
              <a:extLst>
                <a:ext uri="{FF2B5EF4-FFF2-40B4-BE49-F238E27FC236}">
                  <a16:creationId xmlns:a16="http://schemas.microsoft.com/office/drawing/2014/main" id="{F8F36E5F-B135-42B6-B015-D127ADB1185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112" t="4617" r="10748" b="17280"/>
            <a:stretch/>
          </p:blipFill>
          <p:spPr bwMode="auto">
            <a:xfrm>
              <a:off x="5504667" y="3193457"/>
              <a:ext cx="351969" cy="427563"/>
            </a:xfrm>
            <a:prstGeom prst="ellipse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16" name="グループ化 215">
            <a:extLst>
              <a:ext uri="{FF2B5EF4-FFF2-40B4-BE49-F238E27FC236}">
                <a16:creationId xmlns:a16="http://schemas.microsoft.com/office/drawing/2014/main" id="{02AEE5D9-4C90-48CA-9158-5588B0996F52}"/>
              </a:ext>
            </a:extLst>
          </p:cNvPr>
          <p:cNvGrpSpPr/>
          <p:nvPr/>
        </p:nvGrpSpPr>
        <p:grpSpPr>
          <a:xfrm>
            <a:off x="6095869" y="4266409"/>
            <a:ext cx="327969" cy="587599"/>
            <a:chOff x="5874739" y="3193457"/>
            <a:chExt cx="354360" cy="634881"/>
          </a:xfrm>
        </p:grpSpPr>
        <p:sp>
          <p:nvSpPr>
            <p:cNvPr id="217" name="正方形/長方形 216">
              <a:extLst>
                <a:ext uri="{FF2B5EF4-FFF2-40B4-BE49-F238E27FC236}">
                  <a16:creationId xmlns:a16="http://schemas.microsoft.com/office/drawing/2014/main" id="{7436D815-0C4C-42FE-9510-3091FDA9FAE7}"/>
                </a:ext>
              </a:extLst>
            </p:cNvPr>
            <p:cNvSpPr/>
            <p:nvPr/>
          </p:nvSpPr>
          <p:spPr bwMode="gray">
            <a:xfrm>
              <a:off x="5915616" y="3746557"/>
              <a:ext cx="272606" cy="81781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ja-JP"/>
              </a:defPPr>
              <a:lvl1pPr algn="ctr" rtl="0" fontAlgn="ctr">
                <a:spcBef>
                  <a:spcPct val="0"/>
                </a:spcBef>
                <a:spcAft>
                  <a:spcPct val="0"/>
                </a:spcAft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1pPr>
              <a:lvl2pPr marL="457200" algn="ctr" rtl="0" fontAlgn="ctr">
                <a:spcBef>
                  <a:spcPct val="0"/>
                </a:spcBef>
                <a:spcAft>
                  <a:spcPct val="0"/>
                </a:spcAft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2pPr>
              <a:lvl3pPr marL="914400" algn="ctr" rtl="0" fontAlgn="ctr">
                <a:spcBef>
                  <a:spcPct val="0"/>
                </a:spcBef>
                <a:spcAft>
                  <a:spcPct val="0"/>
                </a:spcAft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3pPr>
              <a:lvl4pPr marL="1371600" algn="ctr" rtl="0" fontAlgn="ctr">
                <a:spcBef>
                  <a:spcPct val="0"/>
                </a:spcBef>
                <a:spcAft>
                  <a:spcPct val="0"/>
                </a:spcAft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4pPr>
              <a:lvl5pPr marL="1828800" algn="ctr" rtl="0" fontAlgn="ctr">
                <a:spcBef>
                  <a:spcPct val="0"/>
                </a:spcBef>
                <a:spcAft>
                  <a:spcPct val="0"/>
                </a:spcAft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5pPr>
              <a:lvl6pPr marL="2286000" algn="l" defTabSz="914400" rtl="0" eaLnBrk="1" latinLnBrk="0" hangingPunct="1"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6pPr>
              <a:lvl7pPr marL="2743200" algn="l" defTabSz="914400" rtl="0" eaLnBrk="1" latinLnBrk="0" hangingPunct="1"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7pPr>
              <a:lvl8pPr marL="3200400" algn="l" defTabSz="914400" rtl="0" eaLnBrk="1" latinLnBrk="0" hangingPunct="1"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8pPr>
              <a:lvl9pPr marL="3657600" algn="l" defTabSz="914400" rtl="0" eaLnBrk="1" latinLnBrk="0" hangingPunct="1"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9pPr>
            </a:lstStyle>
            <a:p>
              <a:pPr marL="0" marR="0" lvl="0" indent="0" algn="ctr" defTabSz="913852" rtl="0" eaLnBrk="1" fontAlgn="ctr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3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Yu Gothic UI Semilight" panose="020B0400000000000000" pitchFamily="50" charset="-128"/>
                  <a:ea typeface="Yu Gothic UI Semilight" panose="020B0400000000000000" pitchFamily="50" charset="-128"/>
                </a:rPr>
                <a:t>Corp. executive</a:t>
              </a:r>
            </a:p>
            <a:p>
              <a:pPr marL="0" marR="0" lvl="0" indent="0" algn="ctr" defTabSz="913852" rtl="0" eaLnBrk="1" fontAlgn="ctr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3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Yu Gothic UI Semilight" panose="020B0400000000000000" pitchFamily="50" charset="-128"/>
                  <a:ea typeface="Yu Gothic UI Semilight" panose="020B0400000000000000" pitchFamily="50" charset="-128"/>
                </a:rPr>
                <a:t>officer</a:t>
              </a:r>
              <a:r>
                <a:rPr kumimoji="1" lang="ja-JP" altLang="en-US" sz="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Yu Gothic UI Semilight" panose="020B0400000000000000" pitchFamily="50" charset="-128"/>
                  <a:ea typeface="Yu Gothic UI Semilight" panose="020B0400000000000000" pitchFamily="50" charset="-128"/>
                </a:rPr>
                <a:t> Koga</a:t>
              </a:r>
            </a:p>
          </p:txBody>
        </p:sp>
        <p:sp>
          <p:nvSpPr>
            <p:cNvPr id="218" name="正方形/長方形 217">
              <a:extLst>
                <a:ext uri="{FF2B5EF4-FFF2-40B4-BE49-F238E27FC236}">
                  <a16:creationId xmlns:a16="http://schemas.microsoft.com/office/drawing/2014/main" id="{CD352CDD-7378-48A7-A5C9-6C0A2A1AB0D7}"/>
                </a:ext>
              </a:extLst>
            </p:cNvPr>
            <p:cNvSpPr/>
            <p:nvPr/>
          </p:nvSpPr>
          <p:spPr bwMode="gray">
            <a:xfrm>
              <a:off x="5958210" y="3649933"/>
              <a:ext cx="187417" cy="61336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ja-JP"/>
              </a:defPPr>
              <a:lvl1pPr algn="ctr" rtl="0" fontAlgn="ctr">
                <a:spcBef>
                  <a:spcPct val="0"/>
                </a:spcBef>
                <a:spcAft>
                  <a:spcPct val="0"/>
                </a:spcAft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1pPr>
              <a:lvl2pPr marL="457200" algn="ctr" rtl="0" fontAlgn="ctr">
                <a:spcBef>
                  <a:spcPct val="0"/>
                </a:spcBef>
                <a:spcAft>
                  <a:spcPct val="0"/>
                </a:spcAft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2pPr>
              <a:lvl3pPr marL="914400" algn="ctr" rtl="0" fontAlgn="ctr">
                <a:spcBef>
                  <a:spcPct val="0"/>
                </a:spcBef>
                <a:spcAft>
                  <a:spcPct val="0"/>
                </a:spcAft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3pPr>
              <a:lvl4pPr marL="1371600" algn="ctr" rtl="0" fontAlgn="ctr">
                <a:spcBef>
                  <a:spcPct val="0"/>
                </a:spcBef>
                <a:spcAft>
                  <a:spcPct val="0"/>
                </a:spcAft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4pPr>
              <a:lvl5pPr marL="1828800" algn="ctr" rtl="0" fontAlgn="ctr">
                <a:spcBef>
                  <a:spcPct val="0"/>
                </a:spcBef>
                <a:spcAft>
                  <a:spcPct val="0"/>
                </a:spcAft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5pPr>
              <a:lvl6pPr marL="2286000" algn="l" defTabSz="914400" rtl="0" eaLnBrk="1" latinLnBrk="0" hangingPunct="1"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6pPr>
              <a:lvl7pPr marL="2743200" algn="l" defTabSz="914400" rtl="0" eaLnBrk="1" latinLnBrk="0" hangingPunct="1"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7pPr>
              <a:lvl8pPr marL="3200400" algn="l" defTabSz="914400" rtl="0" eaLnBrk="1" latinLnBrk="0" hangingPunct="1"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8pPr>
              <a:lvl9pPr marL="3657600" algn="l" defTabSz="914400" rtl="0" eaLnBrk="1" latinLnBrk="0" hangingPunct="1"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9pPr>
            </a:lstStyle>
            <a:p>
              <a:pPr marL="0" marR="0" lvl="0" indent="0" algn="ctr" defTabSz="913852" rtl="0" eaLnBrk="1" fontAlgn="ctr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32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Yu Gothic UI Semilight" panose="020B0400000000000000" pitchFamily="50" charset="-128"/>
                  <a:ea typeface="Yu Gothic UI Semilight" panose="020B0400000000000000" pitchFamily="50" charset="-128"/>
                </a:rPr>
                <a:t>Hybrid IT</a:t>
              </a:r>
            </a:p>
          </p:txBody>
        </p:sp>
        <p:pic>
          <p:nvPicPr>
            <p:cNvPr id="219" name="Picture 14" descr="User photo">
              <a:extLst>
                <a:ext uri="{FF2B5EF4-FFF2-40B4-BE49-F238E27FC236}">
                  <a16:creationId xmlns:a16="http://schemas.microsoft.com/office/drawing/2014/main" id="{DE490CF0-7378-4DB2-A9A3-4C579C370B5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635" t="12796"/>
            <a:stretch/>
          </p:blipFill>
          <p:spPr bwMode="auto">
            <a:xfrm>
              <a:off x="5874739" y="3193457"/>
              <a:ext cx="354360" cy="427563"/>
            </a:xfrm>
            <a:prstGeom prst="ellipse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20" name="グループ化 219">
            <a:extLst>
              <a:ext uri="{FF2B5EF4-FFF2-40B4-BE49-F238E27FC236}">
                <a16:creationId xmlns:a16="http://schemas.microsoft.com/office/drawing/2014/main" id="{84ED0F4B-AA81-41F0-BE1F-9F2C64A35E23}"/>
              </a:ext>
            </a:extLst>
          </p:cNvPr>
          <p:cNvGrpSpPr/>
          <p:nvPr/>
        </p:nvGrpSpPr>
        <p:grpSpPr>
          <a:xfrm>
            <a:off x="6406651" y="4266409"/>
            <a:ext cx="460220" cy="619147"/>
            <a:chOff x="5344725" y="3199184"/>
            <a:chExt cx="497252" cy="668968"/>
          </a:xfrm>
        </p:grpSpPr>
        <p:pic>
          <p:nvPicPr>
            <p:cNvPr id="221" name="図 220">
              <a:extLst>
                <a:ext uri="{FF2B5EF4-FFF2-40B4-BE49-F238E27FC236}">
                  <a16:creationId xmlns:a16="http://schemas.microsoft.com/office/drawing/2014/main" id="{D16EBD43-3DE5-4822-8B65-5074EF394E9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9982" t="575" r="31029" b="874"/>
            <a:stretch/>
          </p:blipFill>
          <p:spPr>
            <a:xfrm>
              <a:off x="5417589" y="3199184"/>
              <a:ext cx="357891" cy="434324"/>
            </a:xfrm>
            <a:prstGeom prst="ellipse">
              <a:avLst/>
            </a:prstGeom>
          </p:spPr>
        </p:pic>
        <p:sp>
          <p:nvSpPr>
            <p:cNvPr id="222" name="テキスト ボックス 221">
              <a:extLst>
                <a:ext uri="{FF2B5EF4-FFF2-40B4-BE49-F238E27FC236}">
                  <a16:creationId xmlns:a16="http://schemas.microsoft.com/office/drawing/2014/main" id="{22D636D0-7812-4AF3-B4F7-80A9E5E17598}"/>
                </a:ext>
              </a:extLst>
            </p:cNvPr>
            <p:cNvSpPr txBox="1"/>
            <p:nvPr/>
          </p:nvSpPr>
          <p:spPr>
            <a:xfrm>
              <a:off x="5344725" y="3751762"/>
              <a:ext cx="497252" cy="11639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3852" rtl="0" eaLnBrk="1" fontAlgn="ctr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3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Yu Gothic UI Semilight" panose="020B0400000000000000" pitchFamily="50" charset="-128"/>
                  <a:ea typeface="Yu Gothic UI Semilight" panose="020B0400000000000000" pitchFamily="50" charset="-128"/>
                </a:rPr>
                <a:t>Corp. executive</a:t>
              </a:r>
            </a:p>
            <a:p>
              <a:pPr marL="0" marR="0" lvl="0" indent="0" algn="ctr" defTabSz="913852" rtl="0" eaLnBrk="1" fontAlgn="ctr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3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Yu Gothic UI Semilight" panose="020B0400000000000000" pitchFamily="50" charset="-128"/>
                  <a:ea typeface="Yu Gothic UI Semilight" panose="020B0400000000000000" pitchFamily="50" charset="-128"/>
                </a:rPr>
                <a:t>officer </a:t>
              </a:r>
              <a:r>
                <a:rPr kumimoji="1" lang="en-US" altLang="ja-JP" sz="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Yu Gothic UI Semilight" panose="020B0400000000000000" pitchFamily="50" charset="-128"/>
                  <a:ea typeface="Yu Gothic UI Semilight" panose="020B0400000000000000" pitchFamily="50" charset="-128"/>
                </a:rPr>
                <a:t>Nicolas</a:t>
              </a:r>
            </a:p>
          </p:txBody>
        </p:sp>
        <p:sp>
          <p:nvSpPr>
            <p:cNvPr id="223" name="正方形/長方形 222">
              <a:extLst>
                <a:ext uri="{FF2B5EF4-FFF2-40B4-BE49-F238E27FC236}">
                  <a16:creationId xmlns:a16="http://schemas.microsoft.com/office/drawing/2014/main" id="{763880E9-A4B9-4982-BB27-9BDF0B68393E}"/>
                </a:ext>
              </a:extLst>
            </p:cNvPr>
            <p:cNvSpPr/>
            <p:nvPr/>
          </p:nvSpPr>
          <p:spPr bwMode="gray">
            <a:xfrm>
              <a:off x="5499643" y="3656859"/>
              <a:ext cx="187417" cy="61336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ja-JP"/>
              </a:defPPr>
              <a:lvl1pPr algn="ctr" rtl="0" fontAlgn="ctr">
                <a:spcBef>
                  <a:spcPct val="0"/>
                </a:spcBef>
                <a:spcAft>
                  <a:spcPct val="0"/>
                </a:spcAft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1pPr>
              <a:lvl2pPr marL="457200" algn="ctr" rtl="0" fontAlgn="ctr">
                <a:spcBef>
                  <a:spcPct val="0"/>
                </a:spcBef>
                <a:spcAft>
                  <a:spcPct val="0"/>
                </a:spcAft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2pPr>
              <a:lvl3pPr marL="914400" algn="ctr" rtl="0" fontAlgn="ctr">
                <a:spcBef>
                  <a:spcPct val="0"/>
                </a:spcBef>
                <a:spcAft>
                  <a:spcPct val="0"/>
                </a:spcAft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3pPr>
              <a:lvl4pPr marL="1371600" algn="ctr" rtl="0" fontAlgn="ctr">
                <a:spcBef>
                  <a:spcPct val="0"/>
                </a:spcBef>
                <a:spcAft>
                  <a:spcPct val="0"/>
                </a:spcAft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4pPr>
              <a:lvl5pPr marL="1828800" algn="ctr" rtl="0" fontAlgn="ctr">
                <a:spcBef>
                  <a:spcPct val="0"/>
                </a:spcBef>
                <a:spcAft>
                  <a:spcPct val="0"/>
                </a:spcAft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5pPr>
              <a:lvl6pPr marL="2286000" algn="l" defTabSz="914400" rtl="0" eaLnBrk="1" latinLnBrk="0" hangingPunct="1"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6pPr>
              <a:lvl7pPr marL="2743200" algn="l" defTabSz="914400" rtl="0" eaLnBrk="1" latinLnBrk="0" hangingPunct="1"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7pPr>
              <a:lvl8pPr marL="3200400" algn="l" defTabSz="914400" rtl="0" eaLnBrk="1" latinLnBrk="0" hangingPunct="1"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8pPr>
              <a:lvl9pPr marL="3657600" algn="l" defTabSz="914400" rtl="0" eaLnBrk="1" latinLnBrk="0" hangingPunct="1">
                <a:defRPr kumimoji="1" sz="1280" kern="12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+mn-cs"/>
                </a:defRPr>
              </a:lvl9pPr>
            </a:lstStyle>
            <a:p>
              <a:pPr marL="0" marR="0" lvl="0" indent="0" algn="ctr" defTabSz="913852" rtl="0" eaLnBrk="1" fontAlgn="ctr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32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Yu Gothic UI Semilight" panose="020B0400000000000000" pitchFamily="50" charset="-128"/>
                  <a:ea typeface="Yu Gothic UI Semilight" panose="020B0400000000000000" pitchFamily="50" charset="-128"/>
                </a:rPr>
                <a:t>M &amp; 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141682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_Tool_T1_01_JP_R">
  <a:themeElements>
    <a:clrScheme name="F_Tool">
      <a:dk1>
        <a:srgbClr val="000000"/>
      </a:dk1>
      <a:lt1>
        <a:sysClr val="window" lastClr="FFFFFF"/>
      </a:lt1>
      <a:dk2>
        <a:srgbClr val="000000"/>
      </a:dk2>
      <a:lt2>
        <a:srgbClr val="FFFFFF"/>
      </a:lt2>
      <a:accent1>
        <a:srgbClr val="EA0000"/>
      </a:accent1>
      <a:accent2>
        <a:srgbClr val="FF8000"/>
      </a:accent2>
      <a:accent3>
        <a:srgbClr val="D80084"/>
      </a:accent3>
      <a:accent4>
        <a:srgbClr val="2400B0"/>
      </a:accent4>
      <a:accent5>
        <a:srgbClr val="61D600"/>
      </a:accent5>
      <a:accent6>
        <a:srgbClr val="008224"/>
      </a:accent6>
      <a:hlink>
        <a:srgbClr val="0563C1"/>
      </a:hlink>
      <a:folHlink>
        <a:srgbClr val="954F72"/>
      </a:folHlink>
    </a:clrScheme>
    <a:fontScheme name="F_Tool_JP">
      <a:majorFont>
        <a:latin typeface="メイリオ"/>
        <a:ea typeface="メイリオ"/>
        <a:cs typeface=""/>
      </a:majorFont>
      <a:minorFont>
        <a:latin typeface="メイリオ"/>
        <a:ea typeface="メイリオ"/>
        <a:cs typeface=""/>
      </a:minorFont>
    </a:fontScheme>
    <a:fmtScheme name="Office テーマ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>
          <a:solidFill>
            <a:schemeClr val="bg1">
              <a:lumMod val="75000"/>
            </a:schemeClr>
          </a:solidFill>
        </a:ln>
      </a:spPr>
      <a:bodyPr rtlCol="0" anchor="ctr"/>
      <a:lstStyle>
        <a:defPPr algn="ctr">
          <a:defRPr kumimoji="1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1">
              <a:lumMod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algn="l">
          <a:defRPr kumimoji="1" sz="1050" dirty="0" smtClean="0">
            <a:latin typeface="Yu Gothic UI Semibold" panose="020B0700000000000000" pitchFamily="50" charset="-128"/>
            <a:ea typeface="Yu Gothic UI Semibold" panose="020B0700000000000000" pitchFamily="50" charset="-128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デザインの設定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4_Global_master_without_Header">
  <a:themeElements>
    <a:clrScheme name="F_Tool_6_JA_R 1">
      <a:dk1>
        <a:srgbClr val="000000"/>
      </a:dk1>
      <a:lt1>
        <a:srgbClr val="FFFFFF"/>
      </a:lt1>
      <a:dk2>
        <a:srgbClr val="000000"/>
      </a:dk2>
      <a:lt2>
        <a:srgbClr val="B1B1AC"/>
      </a:lt2>
      <a:accent1>
        <a:srgbClr val="F8C6C5"/>
      </a:accent1>
      <a:accent2>
        <a:srgbClr val="B22B30"/>
      </a:accent2>
      <a:accent3>
        <a:srgbClr val="FFFFFF"/>
      </a:accent3>
      <a:accent4>
        <a:srgbClr val="000000"/>
      </a:accent4>
      <a:accent5>
        <a:srgbClr val="FBDFDF"/>
      </a:accent5>
      <a:accent6>
        <a:srgbClr val="A1262A"/>
      </a:accent6>
      <a:hlink>
        <a:srgbClr val="105D9C"/>
      </a:hlink>
      <a:folHlink>
        <a:srgbClr val="4B4595"/>
      </a:folHlink>
    </a:clrScheme>
    <a:fontScheme name="F_Tool_6_JA_R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FFFFFF"/>
        </a:solidFill>
        <a:ln w="19050" cap="flat" cmpd="sng" algn="ctr">
          <a:solidFill>
            <a:schemeClr val="bg1">
              <a:lumMod val="75000"/>
            </a:schemeClr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53882" dir="2700000" algn="ctr" rotWithShape="0">
                  <a:schemeClr val="bg2">
                    <a:alpha val="50000"/>
                  </a:schemeClr>
                </a:outerShdw>
              </a:effectLst>
            </a14:hiddenEffects>
          </a:ext>
        </a:extLst>
      </a:spPr>
      <a:bodyPr vert="horz" wrap="non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ctr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b="0" i="0" u="none" strike="noStrike" cap="none" normalizeH="0" baseline="0" dirty="0" smtClean="0">
            <a:ln>
              <a:noFill/>
            </a:ln>
            <a:effectLst/>
            <a:latin typeface="游ゴシック" panose="020B0400000000000000" pitchFamily="50" charset="-128"/>
            <a:ea typeface="游ゴシック" panose="020B0400000000000000" pitchFamily="50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gradFill rotWithShape="0">
          <a:gsLst>
            <a:gs pos="0">
              <a:srgbClr val="FFFFFF"/>
            </a:gs>
            <a:gs pos="100000">
              <a:srgbClr val="CACAC7"/>
            </a:gs>
          </a:gsLst>
          <a:lin ang="5400000" scaled="1"/>
        </a:gradFill>
        <a:ln w="9525" cap="flat" cmpd="sng" algn="ctr">
          <a:solidFill>
            <a:srgbClr val="57564F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53882" dir="2700000" algn="ctr" rotWithShape="0">
                  <a:schemeClr val="bg2">
                    <a:alpha val="50000"/>
                  </a:schemeClr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ctr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6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-128"/>
          </a:defRPr>
        </a:defPPr>
      </a:lstStyle>
    </a:lnDef>
    <a:txDef>
      <a:spPr>
        <a:noFill/>
      </a:spPr>
      <a:bodyPr wrap="none" rtlCol="0">
        <a:spAutoFit/>
      </a:bodyPr>
      <a:lstStyle>
        <a:defPPr algn="l">
          <a:defRPr kumimoji="1" sz="1400" dirty="0" smtClean="0">
            <a:latin typeface="游ゴシック" panose="020B0400000000000000" pitchFamily="50" charset="-128"/>
            <a:ea typeface="游ゴシック" panose="020B0400000000000000" pitchFamily="50" charset="-128"/>
          </a:defRPr>
        </a:defPPr>
      </a:lstStyle>
    </a:txDef>
  </a:objectDefaults>
  <a:extraClrSchemeLst>
    <a:extraClrScheme>
      <a:clrScheme name="F_Tool_6_JA_R 1">
        <a:dk1>
          <a:srgbClr val="000000"/>
        </a:dk1>
        <a:lt1>
          <a:srgbClr val="FFFFFF"/>
        </a:lt1>
        <a:dk2>
          <a:srgbClr val="000000"/>
        </a:dk2>
        <a:lt2>
          <a:srgbClr val="B1B1AC"/>
        </a:lt2>
        <a:accent1>
          <a:srgbClr val="F8C6C5"/>
        </a:accent1>
        <a:accent2>
          <a:srgbClr val="B22B30"/>
        </a:accent2>
        <a:accent3>
          <a:srgbClr val="FFFFFF"/>
        </a:accent3>
        <a:accent4>
          <a:srgbClr val="000000"/>
        </a:accent4>
        <a:accent5>
          <a:srgbClr val="FBDFDF"/>
        </a:accent5>
        <a:accent6>
          <a:srgbClr val="A1262A"/>
        </a:accent6>
        <a:hlink>
          <a:srgbClr val="105D9C"/>
        </a:hlink>
        <a:folHlink>
          <a:srgbClr val="4B459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F_Tool_7_JA_R">
  <a:themeElements>
    <a:clrScheme name="コーポレートカラー_v2">
      <a:dk1>
        <a:srgbClr val="000000"/>
      </a:dk1>
      <a:lt1>
        <a:srgbClr val="FFFFFF"/>
      </a:lt1>
      <a:dk2>
        <a:srgbClr val="000000"/>
      </a:dk2>
      <a:lt2>
        <a:srgbClr val="EEEEEE"/>
      </a:lt2>
      <a:accent1>
        <a:srgbClr val="87867E"/>
      </a:accent1>
      <a:accent2>
        <a:srgbClr val="A30B1A"/>
      </a:accent2>
      <a:accent3>
        <a:srgbClr val="B1B1AC"/>
      </a:accent3>
      <a:accent4>
        <a:srgbClr val="DAD9D6"/>
      </a:accent4>
      <a:accent5>
        <a:srgbClr val="706F67"/>
      </a:accent5>
      <a:accent6>
        <a:srgbClr val="C6C6C0"/>
      </a:accent6>
      <a:hlink>
        <a:srgbClr val="105D9C"/>
      </a:hlink>
      <a:folHlink>
        <a:srgbClr val="4B4595"/>
      </a:folHlink>
    </a:clrScheme>
    <a:fontScheme name="F_Tool_6_JA_R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DAD9D6"/>
        </a:solidFill>
        <a:ln w="9525" cap="flat" cmpd="sng" algn="ctr">
          <a:solidFill>
            <a:srgbClr val="B1B1AC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53882" dir="2700000" algn="ctr" rotWithShape="0">
                  <a:schemeClr val="bg2">
                    <a:alpha val="50000"/>
                  </a:schemeClr>
                </a:outerShdw>
              </a:effectLst>
            </a14:hiddenEffects>
          </a:ext>
        </a:extLst>
      </a:spPr>
      <a:bodyPr vert="horz" wrap="non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ctr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sz="1600" b="0" i="0" u="none" strike="noStrike" cap="none" normalizeH="0" baseline="0" dirty="0" smtClean="0">
            <a:ln>
              <a:noFill/>
            </a:ln>
            <a:effectLst/>
            <a:latin typeface="Arial" charset="0"/>
            <a:ea typeface="ＭＳ Ｐゴシック" pitchFamily="50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gradFill rotWithShape="0">
          <a:gsLst>
            <a:gs pos="0">
              <a:srgbClr val="FFFFFF"/>
            </a:gs>
            <a:gs pos="100000">
              <a:srgbClr val="CACAC7"/>
            </a:gs>
          </a:gsLst>
          <a:lin ang="5400000" scaled="1"/>
        </a:gradFill>
        <a:ln w="9525" cap="flat" cmpd="sng" algn="ctr">
          <a:solidFill>
            <a:srgbClr val="57564F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53882" dir="2700000" algn="ctr" rotWithShape="0">
                  <a:schemeClr val="bg2">
                    <a:alpha val="50000"/>
                  </a:schemeClr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ctr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6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F_Tool_6_JA_R 1">
        <a:dk1>
          <a:srgbClr val="000000"/>
        </a:dk1>
        <a:lt1>
          <a:srgbClr val="FFFFFF"/>
        </a:lt1>
        <a:dk2>
          <a:srgbClr val="000000"/>
        </a:dk2>
        <a:lt2>
          <a:srgbClr val="B1B1AC"/>
        </a:lt2>
        <a:accent1>
          <a:srgbClr val="F8C6C5"/>
        </a:accent1>
        <a:accent2>
          <a:srgbClr val="B22B30"/>
        </a:accent2>
        <a:accent3>
          <a:srgbClr val="FFFFFF"/>
        </a:accent3>
        <a:accent4>
          <a:srgbClr val="000000"/>
        </a:accent4>
        <a:accent5>
          <a:srgbClr val="FBDFDF"/>
        </a:accent5>
        <a:accent6>
          <a:srgbClr val="A1262A"/>
        </a:accent6>
        <a:hlink>
          <a:srgbClr val="105D9C"/>
        </a:hlink>
        <a:folHlink>
          <a:srgbClr val="4B459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Office テーマ">
  <a:themeElements>
    <a:clrScheme name="F_Tool_8_EN">
      <a:dk1>
        <a:srgbClr val="000000"/>
      </a:dk1>
      <a:lt1>
        <a:sysClr val="window" lastClr="FFFFFF"/>
      </a:lt1>
      <a:dk2>
        <a:srgbClr val="D51C89"/>
      </a:dk2>
      <a:lt2>
        <a:srgbClr val="E60000"/>
      </a:lt2>
      <a:accent1>
        <a:srgbClr val="1813B1"/>
      </a:accent1>
      <a:accent2>
        <a:srgbClr val="00ECF4"/>
      </a:accent2>
      <a:accent3>
        <a:srgbClr val="75D700"/>
      </a:accent3>
      <a:accent4>
        <a:srgbClr val="00812F"/>
      </a:accent4>
      <a:accent5>
        <a:srgbClr val="FFE800"/>
      </a:accent5>
      <a:accent6>
        <a:srgbClr val="FF8100"/>
      </a:accent6>
      <a:hlink>
        <a:srgbClr val="0563C1"/>
      </a:hlink>
      <a:folHlink>
        <a:srgbClr val="954F72"/>
      </a:folHlink>
    </a:clrScheme>
    <a:fontScheme name="F_Tool_8_EN">
      <a:majorFont>
        <a:latin typeface="Arial"/>
        <a:ea typeface="メイリオ"/>
        <a:cs typeface=""/>
      </a:majorFont>
      <a:minorFont>
        <a:latin typeface="Arial"/>
        <a:ea typeface="メイリオ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テーマ">
  <a:themeElements>
    <a:clrScheme name="F_Tool_8_EN">
      <a:dk1>
        <a:srgbClr val="000000"/>
      </a:dk1>
      <a:lt1>
        <a:sysClr val="window" lastClr="FFFFFF"/>
      </a:lt1>
      <a:dk2>
        <a:srgbClr val="D51C89"/>
      </a:dk2>
      <a:lt2>
        <a:srgbClr val="E60000"/>
      </a:lt2>
      <a:accent1>
        <a:srgbClr val="1813B1"/>
      </a:accent1>
      <a:accent2>
        <a:srgbClr val="00ECF4"/>
      </a:accent2>
      <a:accent3>
        <a:srgbClr val="75D700"/>
      </a:accent3>
      <a:accent4>
        <a:srgbClr val="00812F"/>
      </a:accent4>
      <a:accent5>
        <a:srgbClr val="FFE800"/>
      </a:accent5>
      <a:accent6>
        <a:srgbClr val="FF8100"/>
      </a:accent6>
      <a:hlink>
        <a:srgbClr val="0563C1"/>
      </a:hlink>
      <a:folHlink>
        <a:srgbClr val="954F72"/>
      </a:folHlink>
    </a:clrScheme>
    <a:fontScheme name="F_Tool_8_EN">
      <a:majorFont>
        <a:latin typeface="Arial"/>
        <a:ea typeface="メイリオ"/>
        <a:cs typeface=""/>
      </a:majorFont>
      <a:minorFont>
        <a:latin typeface="Arial"/>
        <a:ea typeface="メイリオ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0588128A2CF94B45BC21BC989094775B" ma:contentTypeVersion="5" ma:contentTypeDescription="新しいドキュメントを作成します。" ma:contentTypeScope="" ma:versionID="a8edfb8f0091a00c5266a4fd97d90311">
  <xsd:schema xmlns:xsd="http://www.w3.org/2001/XMLSchema" xmlns:xs="http://www.w3.org/2001/XMLSchema" xmlns:p="http://schemas.microsoft.com/office/2006/metadata/properties" xmlns:ns2="6e992da8-ff50-4bb0-92da-a3893efae20c" targetNamespace="http://schemas.microsoft.com/office/2006/metadata/properties" ma:root="true" ma:fieldsID="3d86800b4fa9d636b15595646c9d6167" ns2:_="">
    <xsd:import namespace="6e992da8-ff50-4bb0-92da-a3893efae20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e992da8-ff50-4bb0-92da-a3893efae20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LengthInSeconds" ma:index="12" nillable="true" ma:displayName="MediaLengthInSeconds" ma:hidden="true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AFD0728-CF6C-43C0-B83B-4DEF604D793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3FC920F-A505-4017-A902-84ABFC61D216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5ba3b1b3-d4c0-48d6-af79-c6cdca436d02"/>
    <ds:schemaRef ds:uri="http://purl.org/dc/elements/1.1/"/>
    <ds:schemaRef ds:uri="http://schemas.microsoft.com/office/2006/metadata/properties"/>
    <ds:schemaRef ds:uri="9bbf49f1-9e18-44c3-b9db-53c32bc36afc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0011B064-BA0D-4298-84F5-6A66BBE9173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e992da8-ff50-4bb0-92da-a3893efae20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542</Words>
  <Application>Microsoft Office PowerPoint</Application>
  <PresentationFormat>On-screen Show (16:9)</PresentationFormat>
  <Paragraphs>139</Paragraphs>
  <Slides>4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4</vt:i4>
      </vt:variant>
      <vt:variant>
        <vt:lpstr>Slide Titles</vt:lpstr>
      </vt:variant>
      <vt:variant>
        <vt:i4>4</vt:i4>
      </vt:variant>
    </vt:vector>
  </HeadingPairs>
  <TitlesOfParts>
    <vt:vector size="8" baseType="lpstr">
      <vt:lpstr>F_Tool_T1_01_JP_R</vt:lpstr>
      <vt:lpstr>デザインの設定</vt:lpstr>
      <vt:lpstr>4_Global_master_without_Header</vt:lpstr>
      <vt:lpstr>F_Tool_7_JA_R</vt:lpstr>
      <vt:lpstr>PowerPoint Presentation</vt:lpstr>
      <vt:lpstr>PowerPoint Presentation</vt:lpstr>
      <vt:lpstr>PowerPoint Presentation</vt:lpstr>
      <vt:lpstr>PowerPoint Presentation</vt:lpstr>
    </vt:vector>
  </TitlesOfParts>
  <Company>富士通株式会社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Tsuchiya, Yumi/土屋 由美</dc:creator>
  <cp:lastModifiedBy>Saito, Kazumi/斉藤 一実</cp:lastModifiedBy>
  <cp:revision>11</cp:revision>
  <dcterms:created xsi:type="dcterms:W3CDTF">2021-07-25T02:06:17Z</dcterms:created>
  <dcterms:modified xsi:type="dcterms:W3CDTF">2022-03-22T10:33:21Z</dcterms:modified>
  <cp:category>他社秘密情報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a7295cc1-d279-42ac-ab4d-3b0f4fece050_Enabled">
    <vt:lpwstr>true</vt:lpwstr>
  </property>
  <property fmtid="{D5CDD505-2E9C-101B-9397-08002B2CF9AE}" pid="3" name="MSIP_Label_a7295cc1-d279-42ac-ab4d-3b0f4fece050_SetDate">
    <vt:lpwstr>2021-07-25T02:06:17Z</vt:lpwstr>
  </property>
  <property fmtid="{D5CDD505-2E9C-101B-9397-08002B2CF9AE}" pid="4" name="MSIP_Label_a7295cc1-d279-42ac-ab4d-3b0f4fece050_Method">
    <vt:lpwstr>Standard</vt:lpwstr>
  </property>
  <property fmtid="{D5CDD505-2E9C-101B-9397-08002B2CF9AE}" pid="5" name="MSIP_Label_a7295cc1-d279-42ac-ab4d-3b0f4fece050_Name">
    <vt:lpwstr>FUJITSU-RESTRICTED​</vt:lpwstr>
  </property>
  <property fmtid="{D5CDD505-2E9C-101B-9397-08002B2CF9AE}" pid="6" name="MSIP_Label_a7295cc1-d279-42ac-ab4d-3b0f4fece050_SiteId">
    <vt:lpwstr>a19f121d-81e1-4858-a9d8-736e267fd4c7</vt:lpwstr>
  </property>
  <property fmtid="{D5CDD505-2E9C-101B-9397-08002B2CF9AE}" pid="7" name="MSIP_Label_a7295cc1-d279-42ac-ab4d-3b0f4fece050_ActionId">
    <vt:lpwstr>99f6c533-5ccc-48d3-bb6c-b089d8fb28cf</vt:lpwstr>
  </property>
  <property fmtid="{D5CDD505-2E9C-101B-9397-08002B2CF9AE}" pid="8" name="MSIP_Label_a7295cc1-d279-42ac-ab4d-3b0f4fece050_ContentBits">
    <vt:lpwstr>0</vt:lpwstr>
  </property>
  <property fmtid="{D5CDD505-2E9C-101B-9397-08002B2CF9AE}" pid="9" name="ContentTypeId">
    <vt:lpwstr>0x0101000588128A2CF94B45BC21BC989094775B</vt:lpwstr>
  </property>
</Properties>
</file>